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51" r:id="rId1"/>
    <p:sldMasterId id="2147484055" r:id="rId2"/>
    <p:sldMasterId id="2147484056" r:id="rId3"/>
    <p:sldMasterId id="2147484061" r:id="rId4"/>
    <p:sldMasterId id="2147484072" r:id="rId5"/>
    <p:sldMasterId id="2147484079" r:id="rId6"/>
    <p:sldMasterId id="2147484094" r:id="rId7"/>
  </p:sldMasterIdLst>
  <p:notesMasterIdLst>
    <p:notesMasterId r:id="rId32"/>
  </p:notesMasterIdLst>
  <p:sldIdLst>
    <p:sldId id="1851" r:id="rId8"/>
    <p:sldId id="1999" r:id="rId9"/>
    <p:sldId id="2000" r:id="rId10"/>
    <p:sldId id="2027" r:id="rId11"/>
    <p:sldId id="2016" r:id="rId12"/>
    <p:sldId id="2021" r:id="rId13"/>
    <p:sldId id="2026" r:id="rId14"/>
    <p:sldId id="2025" r:id="rId15"/>
    <p:sldId id="2022" r:id="rId16"/>
    <p:sldId id="2031" r:id="rId17"/>
    <p:sldId id="2003" r:id="rId18"/>
    <p:sldId id="2030" r:id="rId19"/>
    <p:sldId id="2001" r:id="rId20"/>
    <p:sldId id="2012" r:id="rId21"/>
    <p:sldId id="2006" r:id="rId22"/>
    <p:sldId id="2035" r:id="rId23"/>
    <p:sldId id="2036" r:id="rId24"/>
    <p:sldId id="2037" r:id="rId25"/>
    <p:sldId id="2010" r:id="rId26"/>
    <p:sldId id="3141" r:id="rId27"/>
    <p:sldId id="3140" r:id="rId28"/>
    <p:sldId id="3142" r:id="rId29"/>
    <p:sldId id="3145" r:id="rId30"/>
    <p:sldId id="2009" r:id="rId3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E92F5054-CE4F-4B17-9A48-BCD955507DF2}">
          <p14:sldIdLst>
            <p14:sldId id="1851"/>
            <p14:sldId id="1999"/>
          </p14:sldIdLst>
        </p14:section>
        <p14:section name="申请公司概况" id="{5065949A-134F-4321-95C1-14E885A8CFBC}">
          <p14:sldIdLst>
            <p14:sldId id="2000"/>
            <p14:sldId id="2027"/>
            <p14:sldId id="2016"/>
            <p14:sldId id="2021"/>
            <p14:sldId id="2026"/>
            <p14:sldId id="2025"/>
            <p14:sldId id="2022"/>
          </p14:sldIdLst>
        </p14:section>
        <p14:section name="申请区域概况" id="{68EFA2CE-5A24-4E85-AC4B-F05C5E56060A}">
          <p14:sldIdLst>
            <p14:sldId id="2031"/>
            <p14:sldId id="2003"/>
            <p14:sldId id="2030"/>
            <p14:sldId id="2001"/>
            <p14:sldId id="2012"/>
            <p14:sldId id="2006"/>
            <p14:sldId id="2035"/>
            <p14:sldId id="2036"/>
            <p14:sldId id="2037"/>
            <p14:sldId id="2010"/>
            <p14:sldId id="3141"/>
          </p14:sldIdLst>
        </p14:section>
        <p14:section name="相关附件材料" id="{9BEAAD1F-CE78-4214-AAE7-196360C099E9}">
          <p14:sldIdLst>
            <p14:sldId id="3140"/>
            <p14:sldId id="3142"/>
            <p14:sldId id="3145"/>
            <p14:sldId id="20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09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BE5D6"/>
    <a:srgbClr val="DCE6F2"/>
    <a:srgbClr val="F2F2F2"/>
    <a:srgbClr val="D9D9D9"/>
    <a:srgbClr val="B7B7B7"/>
    <a:srgbClr val="DFDFDF"/>
    <a:srgbClr val="7F7F7F"/>
    <a:srgbClr val="D1EBFF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652" autoAdjust="0"/>
    <p:restoredTop sz="94270" autoAdjust="0"/>
  </p:normalViewPr>
  <p:slideViewPr>
    <p:cSldViewPr snapToGrid="0" snapToObjects="1">
      <p:cViewPr varScale="1">
        <p:scale>
          <a:sx n="64" d="100"/>
          <a:sy n="64" d="100"/>
        </p:scale>
        <p:origin x="220" y="36"/>
      </p:cViewPr>
      <p:guideLst>
        <p:guide orient="horz" pos="209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8FF19B-787D-49B3-A3B6-D6F2F54FD89D}" type="datetimeFigureOut">
              <a:rPr lang="zh-CN" altLang="en-US" smtClean="0"/>
              <a:t>2023/5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F93494-AE44-4D10-9BDF-91ECAF38887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5998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64188-726B-4C0B-AE0E-2BF5F073D72F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6852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F9BAD4-9A09-42DD-B98F-84DF1EA49BFB}" type="slidenum">
              <a:rPr lang="zh-CN" alt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218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2.emf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27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2.emf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oleObject" Target="../embeddings/oleObject7.bin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tags" Target="../tags/tag39.xml"/><Relationship Id="rId11" Type="http://schemas.openxmlformats.org/officeDocument/2006/relationships/slideMaster" Target="../slideMasters/slideMaster7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个栏目-3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" y="25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14" imgW="12700" imgH="12700" progId="TCLayout.ActiveDocument.1">
                  <p:embed/>
                </p:oleObj>
              </mc:Choice>
              <mc:Fallback>
                <p:oleObj name="think-cell Slide" r:id="rId14" imgW="12700" imgH="1270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" y="25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13975" y="882015"/>
            <a:ext cx="11165539" cy="402714"/>
          </a:xfrm>
          <a:prstGeom prst="rect">
            <a:avLst/>
          </a:prstGeom>
        </p:spPr>
        <p:txBody>
          <a:bodyPr>
            <a:spAutoFit/>
          </a:bodyPr>
          <a:lstStyle>
            <a:lvl1pPr marL="230288" indent="-230288">
              <a:lnSpc>
                <a:spcPct val="125000"/>
              </a:lnSpc>
              <a:buFont typeface="Arial" panose="020B0604020202020204" pitchFamily="34" charset="0"/>
              <a:buChar char="•"/>
              <a:defRPr sz="1867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513975" y="1357214"/>
            <a:ext cx="11165539" cy="336735"/>
          </a:xfrm>
          <a:prstGeom prst="rect">
            <a:avLst/>
          </a:prstGeom>
        </p:spPr>
        <p:txBody>
          <a:bodyPr>
            <a:spAutoFit/>
          </a:bodyPr>
          <a:lstStyle>
            <a:lvl1pPr marL="539313" indent="-284473">
              <a:buFont typeface="Wingdings" panose="05000000000000000000" pitchFamily="2" charset="2"/>
              <a:buChar char="Ø"/>
              <a:defRPr sz="1867" b="0" i="0">
                <a:latin typeface="+mn-lt"/>
                <a:ea typeface="华文细黑" panose="02010600040101010101" pitchFamily="2" charset="-122"/>
              </a:defRPr>
            </a:lvl1pPr>
            <a:lvl2pPr marL="557093" indent="-185415">
              <a:buFont typeface="Wingdings" panose="05000000000000000000" pitchFamily="2" charset="2"/>
              <a:buChar char="è"/>
              <a:defRPr sz="1467"/>
            </a:lvl2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内容占位符 2"/>
          <p:cNvSpPr>
            <a:spLocks noGrp="1"/>
          </p:cNvSpPr>
          <p:nvPr>
            <p:ph sz="quarter" idx="20"/>
            <p:custDataLst>
              <p:tags r:id="rId5"/>
            </p:custDataLst>
          </p:nvPr>
        </p:nvSpPr>
        <p:spPr>
          <a:xfrm>
            <a:off x="513983" y="2599201"/>
            <a:ext cx="3633231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7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内容占位符 5"/>
          <p:cNvSpPr>
            <a:spLocks noGrp="1"/>
          </p:cNvSpPr>
          <p:nvPr>
            <p:ph sz="quarter" idx="21"/>
            <p:custDataLst>
              <p:tags r:id="rId6"/>
            </p:custDataLst>
          </p:nvPr>
        </p:nvSpPr>
        <p:spPr>
          <a:xfrm>
            <a:off x="8055150" y="2599201"/>
            <a:ext cx="3633231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7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0" name="内容占位符 5"/>
          <p:cNvSpPr>
            <a:spLocks noGrp="1"/>
          </p:cNvSpPr>
          <p:nvPr>
            <p:ph sz="quarter" idx="23"/>
            <p:custDataLst>
              <p:tags r:id="rId7"/>
            </p:custDataLst>
          </p:nvPr>
        </p:nvSpPr>
        <p:spPr>
          <a:xfrm>
            <a:off x="4280139" y="2599201"/>
            <a:ext cx="3633231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7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idx="24"/>
            <p:custDataLst>
              <p:tags r:id="rId8"/>
            </p:custDataLst>
          </p:nvPr>
        </p:nvSpPr>
        <p:spPr>
          <a:xfrm>
            <a:off x="513983" y="2185200"/>
            <a:ext cx="3633231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 defTabSz="742508" rtl="0" eaLnBrk="1" latinLnBrk="0" hangingPunct="1">
              <a:spcBef>
                <a:spcPct val="0"/>
              </a:spcBef>
              <a:buNone/>
              <a:defRPr lang="zh-CN" altLang="en-US" sz="1600" b="1" u="none" kern="1200" dirty="0" smtClean="0">
                <a:solidFill>
                  <a:srgbClr val="000000"/>
                </a:solidFill>
                <a:latin typeface="+mn-lt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70831" indent="0">
              <a:buNone/>
              <a:defRPr sz="1600" b="1"/>
            </a:lvl2pPr>
            <a:lvl3pPr marL="742508" indent="0">
              <a:buNone/>
              <a:defRPr sz="1467" b="1"/>
            </a:lvl3pPr>
            <a:lvl4pPr marL="1113339" indent="0">
              <a:buNone/>
              <a:defRPr sz="1333" b="1"/>
            </a:lvl4pPr>
            <a:lvl5pPr marL="1485016" indent="0">
              <a:buNone/>
              <a:defRPr sz="1333" b="1"/>
            </a:lvl5pPr>
            <a:lvl6pPr marL="1855847" indent="0">
              <a:buNone/>
              <a:defRPr sz="1333" b="1"/>
            </a:lvl6pPr>
            <a:lvl7pPr marL="2226678" indent="0">
              <a:buNone/>
              <a:defRPr sz="1333" b="1"/>
            </a:lvl7pPr>
            <a:lvl8pPr marL="2598355" indent="0">
              <a:buNone/>
              <a:defRPr sz="1333" b="1"/>
            </a:lvl8pPr>
            <a:lvl9pPr marL="2969186" indent="0">
              <a:buNone/>
              <a:defRPr sz="133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25"/>
            <p:custDataLst>
              <p:tags r:id="rId9"/>
            </p:custDataLst>
          </p:nvPr>
        </p:nvSpPr>
        <p:spPr>
          <a:xfrm>
            <a:off x="8055150" y="2185200"/>
            <a:ext cx="3633231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 defTabSz="742508" rtl="0" eaLnBrk="1" latinLnBrk="0" hangingPunct="1">
              <a:spcBef>
                <a:spcPct val="0"/>
              </a:spcBef>
              <a:buNone/>
              <a:defRPr lang="zh-CN" altLang="en-US" sz="1600" b="1" u="none" kern="1200" dirty="0" smtClean="0">
                <a:solidFill>
                  <a:srgbClr val="000000"/>
                </a:solidFill>
                <a:latin typeface="+mn-lt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70831" indent="0">
              <a:buNone/>
              <a:defRPr sz="1600" b="1"/>
            </a:lvl2pPr>
            <a:lvl3pPr marL="742508" indent="0">
              <a:buNone/>
              <a:defRPr sz="1467" b="1"/>
            </a:lvl3pPr>
            <a:lvl4pPr marL="1113339" indent="0">
              <a:buNone/>
              <a:defRPr sz="1333" b="1"/>
            </a:lvl4pPr>
            <a:lvl5pPr marL="1485016" indent="0">
              <a:buNone/>
              <a:defRPr sz="1333" b="1"/>
            </a:lvl5pPr>
            <a:lvl6pPr marL="1855847" indent="0">
              <a:buNone/>
              <a:defRPr sz="1333" b="1"/>
            </a:lvl6pPr>
            <a:lvl7pPr marL="2226678" indent="0">
              <a:buNone/>
              <a:defRPr sz="1333" b="1"/>
            </a:lvl7pPr>
            <a:lvl8pPr marL="2598355" indent="0">
              <a:buNone/>
              <a:defRPr sz="1333" b="1"/>
            </a:lvl8pPr>
            <a:lvl9pPr marL="2969186" indent="0">
              <a:buNone/>
              <a:defRPr sz="133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3" name="文本占位符 2"/>
          <p:cNvSpPr>
            <a:spLocks noGrp="1"/>
          </p:cNvSpPr>
          <p:nvPr>
            <p:ph type="body" idx="22"/>
            <p:custDataLst>
              <p:tags r:id="rId10"/>
            </p:custDataLst>
          </p:nvPr>
        </p:nvSpPr>
        <p:spPr>
          <a:xfrm>
            <a:off x="4280139" y="2185200"/>
            <a:ext cx="3633231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 defTabSz="742508" rtl="0" eaLnBrk="1" latinLnBrk="0" hangingPunct="1">
              <a:spcBef>
                <a:spcPct val="0"/>
              </a:spcBef>
              <a:buNone/>
              <a:defRPr lang="zh-CN" altLang="en-US" sz="1600" b="1" u="none" kern="1200" dirty="0" smtClean="0">
                <a:solidFill>
                  <a:srgbClr val="000000"/>
                </a:solidFill>
                <a:latin typeface="+mn-lt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70831" indent="0">
              <a:buNone/>
              <a:defRPr sz="1600" b="1"/>
            </a:lvl2pPr>
            <a:lvl3pPr marL="742508" indent="0">
              <a:buNone/>
              <a:defRPr sz="1467" b="1"/>
            </a:lvl3pPr>
            <a:lvl4pPr marL="1113339" indent="0">
              <a:buNone/>
              <a:defRPr sz="1333" b="1"/>
            </a:lvl4pPr>
            <a:lvl5pPr marL="1485016" indent="0">
              <a:buNone/>
              <a:defRPr sz="1333" b="1"/>
            </a:lvl5pPr>
            <a:lvl6pPr marL="1855847" indent="0">
              <a:buNone/>
              <a:defRPr sz="1333" b="1"/>
            </a:lvl6pPr>
            <a:lvl7pPr marL="2226678" indent="0">
              <a:buNone/>
              <a:defRPr sz="1333" b="1"/>
            </a:lvl7pPr>
            <a:lvl8pPr marL="2598355" indent="0">
              <a:buNone/>
              <a:defRPr sz="1333" b="1"/>
            </a:lvl8pPr>
            <a:lvl9pPr marL="2969186" indent="0">
              <a:buNone/>
              <a:defRPr sz="133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标题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1258355" y="183891"/>
            <a:ext cx="10412308" cy="4608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933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4" name="文本占位符 4"/>
          <p:cNvSpPr>
            <a:spLocks noGrp="1"/>
          </p:cNvSpPr>
          <p:nvPr>
            <p:ph type="body" sz="quarter" idx="15"/>
            <p:custDataLst>
              <p:tags r:id="rId12"/>
            </p:custDataLst>
          </p:nvPr>
        </p:nvSpPr>
        <p:spPr>
          <a:xfrm>
            <a:off x="513975" y="6325205"/>
            <a:ext cx="11165539" cy="19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67" b="0" i="0">
                <a:latin typeface="+mn-lt"/>
                <a:ea typeface="宋体" panose="0201060003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6637084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lIns="243834" tIns="121917" rIns="243834" bIns="121917"/>
          <a:lstStyle/>
          <a:p>
            <a:pPr defTabSz="548589">
              <a:defRPr/>
            </a:pPr>
            <a:endParaRPr kumimoji="1" lang="zh-CN" altLang="en-US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 lIns="243834" tIns="121917" rIns="243834" bIns="121917"/>
          <a:lstStyle/>
          <a:p>
            <a:pPr defTabSz="548589">
              <a:defRPr/>
            </a:pPr>
            <a:endParaRPr kumimoji="1" lang="zh-CN" altLang="en-US">
              <a:solidFill>
                <a:prstClr val="black"/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664619" y="6452891"/>
            <a:ext cx="768085" cy="366183"/>
          </a:xfrm>
          <a:prstGeom prst="rect">
            <a:avLst/>
          </a:prstGeom>
        </p:spPr>
        <p:txBody>
          <a:bodyPr/>
          <a:lstStyle>
            <a:lvl1pPr>
              <a:defRPr sz="145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 defTabSz="1219139">
              <a:defRPr/>
            </a:pPr>
            <a:fld id="{47208D70-FFC5-44B9-BFFE-30404FDFFDF1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l" defTabSz="1219139">
                <a:defRPr/>
              </a:pPr>
              <a:t>‹#›</a:t>
            </a:fld>
            <a:endParaRPr lang="zh-CN" alt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9146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个栏目-2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1"/>
          <a:ext cx="15874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58749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13969" y="882001"/>
            <a:ext cx="11165539" cy="346118"/>
          </a:xfrm>
          <a:prstGeom prst="rect">
            <a:avLst/>
          </a:prstGeom>
        </p:spPr>
        <p:txBody>
          <a:bodyPr>
            <a:spAutoFit/>
          </a:bodyPr>
          <a:lstStyle>
            <a:lvl1pPr marL="286166" indent="-286166">
              <a:lnSpc>
                <a:spcPct val="125000"/>
              </a:lnSpc>
              <a:buFont typeface="Arial" panose="020B0604020202090204" pitchFamily="34" charset="0"/>
              <a:buChar char="•"/>
              <a:defRPr sz="16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513969" y="1357200"/>
            <a:ext cx="11165539" cy="314187"/>
          </a:xfrm>
          <a:prstGeom prst="rect">
            <a:avLst/>
          </a:prstGeom>
        </p:spPr>
        <p:txBody>
          <a:bodyPr>
            <a:spAutoFit/>
          </a:bodyPr>
          <a:lstStyle>
            <a:lvl1pPr marL="540160" indent="-284473">
              <a:buFont typeface="Wingdings" panose="05000000000000000000" pitchFamily="2" charset="2"/>
              <a:buChar char="Ø"/>
              <a:defRPr sz="1600" b="0" i="0">
                <a:latin typeface="+mn-lt"/>
                <a:ea typeface="华文细黑" panose="02010600040101010101" pitchFamily="2" charset="-122"/>
              </a:defRPr>
            </a:lvl1pPr>
            <a:lvl2pPr marL="557093" indent="-185415">
              <a:buFont typeface="Wingdings" panose="05000000000000000000" pitchFamily="2" charset="2"/>
              <a:buChar char="è"/>
              <a:defRPr sz="1460"/>
            </a:lvl2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内容占位符 3"/>
          <p:cNvSpPr>
            <a:spLocks noGrp="1"/>
          </p:cNvSpPr>
          <p:nvPr>
            <p:ph sz="quarter" idx="16"/>
            <p:custDataLst>
              <p:tags r:id="rId5"/>
            </p:custDataLst>
          </p:nvPr>
        </p:nvSpPr>
        <p:spPr>
          <a:xfrm>
            <a:off x="513970" y="2599200"/>
            <a:ext cx="5494153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内容占位符 3"/>
          <p:cNvSpPr>
            <a:spLocks noGrp="1"/>
          </p:cNvSpPr>
          <p:nvPr>
            <p:ph sz="quarter" idx="17"/>
            <p:custDataLst>
              <p:tags r:id="rId6"/>
            </p:custDataLst>
          </p:nvPr>
        </p:nvSpPr>
        <p:spPr>
          <a:xfrm>
            <a:off x="6185940" y="2608200"/>
            <a:ext cx="5494153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2" name="标题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258339" y="205200"/>
            <a:ext cx="10412308" cy="4608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2" name="文本占位符 5"/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>
          <a:xfrm>
            <a:off x="513970" y="2185200"/>
            <a:ext cx="5494153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1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5"/>
          <p:cNvSpPr>
            <a:spLocks noGrp="1"/>
          </p:cNvSpPr>
          <p:nvPr>
            <p:ph type="body" sz="quarter" idx="21"/>
            <p:custDataLst>
              <p:tags r:id="rId9"/>
            </p:custDataLst>
          </p:nvPr>
        </p:nvSpPr>
        <p:spPr>
          <a:xfrm>
            <a:off x="6198648" y="2185200"/>
            <a:ext cx="5494153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1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4"/>
          <p:cNvSpPr>
            <a:spLocks noGrp="1"/>
          </p:cNvSpPr>
          <p:nvPr>
            <p:ph type="body" sz="quarter" idx="15"/>
            <p:custDataLst>
              <p:tags r:id="rId10"/>
            </p:custDataLst>
          </p:nvPr>
        </p:nvSpPr>
        <p:spPr>
          <a:xfrm>
            <a:off x="513969" y="6325200"/>
            <a:ext cx="11165539" cy="19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 b="0" i="0">
                <a:latin typeface="+mn-lt"/>
                <a:ea typeface="宋体" panose="0201060003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7378878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占位符 3"/>
          <p:cNvSpPr>
            <a:spLocks noGrp="1"/>
          </p:cNvSpPr>
          <p:nvPr>
            <p:ph type="title"/>
          </p:nvPr>
        </p:nvSpPr>
        <p:spPr>
          <a:xfrm>
            <a:off x="1303021" y="108874"/>
            <a:ext cx="11211036" cy="588580"/>
          </a:xfrm>
          <a:prstGeom prst="rect">
            <a:avLst/>
          </a:prstGeom>
        </p:spPr>
        <p:txBody>
          <a:bodyPr vert="horz" lIns="91410" tIns="45705" rIns="91410" bIns="45705" rtlCol="0" anchor="ctr">
            <a:normAutofit/>
          </a:bodyPr>
          <a:lstStyle>
            <a:lvl1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521440" y="6495262"/>
            <a:ext cx="670560" cy="2522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>
              <a:defRPr kumimoji="1" lang="en-US" altLang="zh-CN" sz="800" b="1" smtClean="0">
                <a:solidFill>
                  <a:prstClr val="black"/>
                </a:solidFill>
                <a:latin typeface="Arial" panose="020B0604020202090204"/>
                <a:ea typeface="微软雅黑"/>
              </a:defRPr>
            </a:lvl1pPr>
          </a:lstStyle>
          <a:p>
            <a:pPr defTabSz="456342"/>
            <a:r>
              <a:rPr lang="en-US" altLang="zh-CN"/>
              <a:t>-</a:t>
            </a:r>
            <a:fld id="{5CEF9895-D930-423D-83BE-F6773CF9B425}" type="slidenum">
              <a:rPr smtClean="0"/>
              <a:pPr defTabSz="456342"/>
              <a:t>‹#›</a:t>
            </a:fld>
            <a:r>
              <a:t>-</a:t>
            </a:r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>
          <a:xfrm>
            <a:off x="190103" y="6485748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60859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灯片编号占位符 8"/>
          <p:cNvSpPr>
            <a:spLocks noGrp="1"/>
          </p:cNvSpPr>
          <p:nvPr>
            <p:ph type="sldNum" sz="quarter" idx="11"/>
          </p:nvPr>
        </p:nvSpPr>
        <p:spPr>
          <a:xfrm>
            <a:off x="9011840" y="6376255"/>
            <a:ext cx="2844800" cy="3651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 b="1">
                <a:solidFill>
                  <a:srgbClr val="002060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fld id="{FB4CACAA-3B2D-4A20-B512-17AA84E43338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67" y="164637"/>
            <a:ext cx="11165540" cy="432000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2"/>
          </p:nvPr>
        </p:nvSpPr>
        <p:spPr>
          <a:xfrm>
            <a:off x="190103" y="6485748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03793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9DF71FC-3D06-450A-BC77-DE2445093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67" y="-21940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855021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1391477" y="-5739"/>
            <a:ext cx="10972800" cy="849577"/>
          </a:xfrm>
          <a:prstGeom prst="rect">
            <a:avLst/>
          </a:prstGeom>
        </p:spPr>
        <p:txBody>
          <a:bodyPr vert="horz" lIns="67328" tIns="33654" rIns="67328" bIns="33654" rtlCol="0" anchor="ctr">
            <a:normAutofit/>
          </a:bodyPr>
          <a:lstStyle>
            <a:lvl1pPr>
              <a:defRPr lang="zh-CN" altLang="en-US"/>
            </a:lvl1pPr>
          </a:lstStyle>
          <a:p>
            <a:pPr lvl="0"/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573482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2582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1164188" y="676876"/>
            <a:ext cx="10473952" cy="0"/>
          </a:xfrm>
          <a:prstGeom prst="line">
            <a:avLst/>
          </a:prstGeom>
          <a:ln w="57150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>
            <a:extLst>
              <a:ext uri="{FF2B5EF4-FFF2-40B4-BE49-F238E27FC236}">
                <a16:creationId xmlns:a16="http://schemas.microsoft.com/office/drawing/2014/main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6" name="形状">
              <a:extLst>
                <a:ext uri="{FF2B5EF4-FFF2-40B4-BE49-F238E27FC236}">
                  <a16:creationId xmlns:a16="http://schemas.microsoft.com/office/drawing/2014/main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8" name="形状">
              <a:extLst>
                <a:ext uri="{FF2B5EF4-FFF2-40B4-BE49-F238E27FC236}">
                  <a16:creationId xmlns:a16="http://schemas.microsoft.com/office/drawing/2014/main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9" name="形状">
              <a:extLst>
                <a:ext uri="{FF2B5EF4-FFF2-40B4-BE49-F238E27FC236}">
                  <a16:creationId xmlns:a16="http://schemas.microsoft.com/office/drawing/2014/main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  <p:sp>
        <p:nvSpPr>
          <p:cNvPr id="1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12122916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1356269"/>
          </a:xfrm>
          <a:prstGeom prst="rect">
            <a:avLst/>
          </a:prstGeom>
        </p:spPr>
        <p:txBody>
          <a:bodyPr lIns="68580" tIns="34290" rIns="68580" bIns="3429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3FA8665C-A55A-4ACC-B19F-E221C63A7704}" type="datetimeFigureOut">
              <a:rPr lang="zh-CN" altLang="en-US" smtClean="0"/>
              <a:t>2023/5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52B0FFAD-7BF2-499A-ADA2-8CC7059AD4F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9119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0979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32993" y="57147"/>
            <a:ext cx="10515600" cy="687611"/>
          </a:xfrm>
        </p:spPr>
        <p:txBody>
          <a:bodyPr>
            <a:normAutofit/>
          </a:bodyPr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zh-CN" altLang="en-US" sz="2000" b="1" kern="12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453097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00722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87867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1164188" y="676876"/>
            <a:ext cx="10473952" cy="0"/>
          </a:xfrm>
          <a:prstGeom prst="line">
            <a:avLst/>
          </a:prstGeom>
          <a:ln w="57150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>
            <a:extLst>
              <a:ext uri="{FF2B5EF4-FFF2-40B4-BE49-F238E27FC236}">
                <a16:creationId xmlns:a16="http://schemas.microsoft.com/office/drawing/2014/main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6" name="形状">
              <a:extLst>
                <a:ext uri="{FF2B5EF4-FFF2-40B4-BE49-F238E27FC236}">
                  <a16:creationId xmlns:a16="http://schemas.microsoft.com/office/drawing/2014/main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8" name="形状">
              <a:extLst>
                <a:ext uri="{FF2B5EF4-FFF2-40B4-BE49-F238E27FC236}">
                  <a16:creationId xmlns:a16="http://schemas.microsoft.com/office/drawing/2014/main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9" name="形状">
              <a:extLst>
                <a:ext uri="{FF2B5EF4-FFF2-40B4-BE49-F238E27FC236}">
                  <a16:creationId xmlns:a16="http://schemas.microsoft.com/office/drawing/2014/main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  <p:sp>
        <p:nvSpPr>
          <p:cNvPr id="1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23492908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5" name="形状">
              <a:extLst>
                <a:ext uri="{FF2B5EF4-FFF2-40B4-BE49-F238E27FC236}">
                  <a16:creationId xmlns:a16="http://schemas.microsoft.com/office/drawing/2014/main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6" name="形状">
              <a:extLst>
                <a:ext uri="{FF2B5EF4-FFF2-40B4-BE49-F238E27FC236}">
                  <a16:creationId xmlns:a16="http://schemas.microsoft.com/office/drawing/2014/main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3" name="形状">
              <a:extLst>
                <a:ext uri="{FF2B5EF4-FFF2-40B4-BE49-F238E27FC236}">
                  <a16:creationId xmlns:a16="http://schemas.microsoft.com/office/drawing/2014/main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22946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lIns="68580" tIns="34290" rIns="68580" bIns="3429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3FA8665C-A55A-4ACC-B19F-E221C63A7704}" type="datetimeFigureOut">
              <a:rPr lang="zh-CN" altLang="en-US" smtClean="0"/>
              <a:t>2023/5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52B0FFAD-7BF2-499A-ADA2-8CC7059AD4F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84131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88394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1164188" y="676876"/>
            <a:ext cx="10473952" cy="0"/>
          </a:xfrm>
          <a:prstGeom prst="line">
            <a:avLst/>
          </a:prstGeom>
          <a:ln w="57150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>
            <a:extLst>
              <a:ext uri="{FF2B5EF4-FFF2-40B4-BE49-F238E27FC236}">
                <a16:creationId xmlns:a16="http://schemas.microsoft.com/office/drawing/2014/main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6" name="形状">
              <a:extLst>
                <a:ext uri="{FF2B5EF4-FFF2-40B4-BE49-F238E27FC236}">
                  <a16:creationId xmlns:a16="http://schemas.microsoft.com/office/drawing/2014/main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8" name="形状">
              <a:extLst>
                <a:ext uri="{FF2B5EF4-FFF2-40B4-BE49-F238E27FC236}">
                  <a16:creationId xmlns:a16="http://schemas.microsoft.com/office/drawing/2014/main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9" name="形状">
              <a:extLst>
                <a:ext uri="{FF2B5EF4-FFF2-40B4-BE49-F238E27FC236}">
                  <a16:creationId xmlns:a16="http://schemas.microsoft.com/office/drawing/2014/main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  <p:sp>
        <p:nvSpPr>
          <p:cNvPr id="1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8811064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5" name="形状">
              <a:extLst>
                <a:ext uri="{FF2B5EF4-FFF2-40B4-BE49-F238E27FC236}">
                  <a16:creationId xmlns:a16="http://schemas.microsoft.com/office/drawing/2014/main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6" name="形状">
              <a:extLst>
                <a:ext uri="{FF2B5EF4-FFF2-40B4-BE49-F238E27FC236}">
                  <a16:creationId xmlns:a16="http://schemas.microsoft.com/office/drawing/2014/main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3" name="形状">
              <a:extLst>
                <a:ext uri="{FF2B5EF4-FFF2-40B4-BE49-F238E27FC236}">
                  <a16:creationId xmlns:a16="http://schemas.microsoft.com/office/drawing/2014/main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16314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lIns="243834" tIns="121917" rIns="243834" bIns="121917"/>
          <a:lstStyle/>
          <a:p>
            <a:pPr defTabSz="548589">
              <a:defRPr/>
            </a:pPr>
            <a:endParaRPr kumimoji="1" lang="zh-CN" altLang="en-US">
              <a:solidFill>
                <a:prstClr val="black"/>
              </a:solidFill>
              <a:sym typeface="Source Han Sans CN Normal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 lIns="243834" tIns="121917" rIns="243834" bIns="121917"/>
          <a:lstStyle/>
          <a:p>
            <a:pPr defTabSz="548589">
              <a:defRPr/>
            </a:pPr>
            <a:endParaRPr kumimoji="1" lang="zh-CN" altLang="en-US">
              <a:solidFill>
                <a:prstClr val="black"/>
              </a:solidFill>
              <a:sym typeface="Source Han Sans CN Normal"/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664619" y="6452891"/>
            <a:ext cx="768085" cy="366183"/>
          </a:xfrm>
          <a:prstGeom prst="rect">
            <a:avLst/>
          </a:prstGeom>
        </p:spPr>
        <p:txBody>
          <a:bodyPr/>
          <a:lstStyle>
            <a:lvl1pPr>
              <a:defRPr sz="145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 defTabSz="1219139">
              <a:defRPr/>
            </a:pPr>
            <a:fld id="{47208D70-FFC5-44B9-BFFE-30404FDFFDF1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  <a:sym typeface="Source Han Sans CN Normal"/>
              </a:rPr>
              <a:pPr algn="l" defTabSz="1219139">
                <a:defRPr/>
              </a:pPr>
              <a:t>‹#›</a:t>
            </a:fld>
            <a:endParaRPr lang="zh-CN" altLang="en-US">
              <a:solidFill>
                <a:prstClr val="black">
                  <a:lumMod val="75000"/>
                  <a:lumOff val="25000"/>
                </a:prst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42778007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个栏目-2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1"/>
          <a:ext cx="15874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58749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13969" y="882001"/>
            <a:ext cx="11165539" cy="346118"/>
          </a:xfrm>
          <a:prstGeom prst="rect">
            <a:avLst/>
          </a:prstGeom>
        </p:spPr>
        <p:txBody>
          <a:bodyPr>
            <a:spAutoFit/>
          </a:bodyPr>
          <a:lstStyle>
            <a:lvl1pPr marL="286166" indent="-286166">
              <a:lnSpc>
                <a:spcPct val="125000"/>
              </a:lnSpc>
              <a:buFont typeface="Arial" panose="020B0604020202090204" pitchFamily="34" charset="0"/>
              <a:buChar char="•"/>
              <a:defRPr sz="16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513969" y="1357200"/>
            <a:ext cx="11165539" cy="314187"/>
          </a:xfrm>
          <a:prstGeom prst="rect">
            <a:avLst/>
          </a:prstGeom>
        </p:spPr>
        <p:txBody>
          <a:bodyPr>
            <a:spAutoFit/>
          </a:bodyPr>
          <a:lstStyle>
            <a:lvl1pPr marL="540160" indent="-284473">
              <a:buFont typeface="Wingdings" panose="05000000000000000000" pitchFamily="2" charset="2"/>
              <a:buChar char="Ø"/>
              <a:defRPr sz="1600" b="0" i="0">
                <a:latin typeface="+mn-lt"/>
                <a:ea typeface="华文细黑" panose="02010600040101010101" pitchFamily="2" charset="-122"/>
              </a:defRPr>
            </a:lvl1pPr>
            <a:lvl2pPr marL="557093" indent="-185415">
              <a:buFont typeface="Wingdings" panose="05000000000000000000" pitchFamily="2" charset="2"/>
              <a:buChar char="è"/>
              <a:defRPr sz="1460"/>
            </a:lvl2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内容占位符 3"/>
          <p:cNvSpPr>
            <a:spLocks noGrp="1"/>
          </p:cNvSpPr>
          <p:nvPr>
            <p:ph sz="quarter" idx="16"/>
            <p:custDataLst>
              <p:tags r:id="rId5"/>
            </p:custDataLst>
          </p:nvPr>
        </p:nvSpPr>
        <p:spPr>
          <a:xfrm>
            <a:off x="513970" y="2599200"/>
            <a:ext cx="5494153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内容占位符 3"/>
          <p:cNvSpPr>
            <a:spLocks noGrp="1"/>
          </p:cNvSpPr>
          <p:nvPr>
            <p:ph sz="quarter" idx="17"/>
            <p:custDataLst>
              <p:tags r:id="rId6"/>
            </p:custDataLst>
          </p:nvPr>
        </p:nvSpPr>
        <p:spPr>
          <a:xfrm>
            <a:off x="6185940" y="2608200"/>
            <a:ext cx="5494153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2" name="标题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258339" y="205200"/>
            <a:ext cx="10412308" cy="4608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2" name="文本占位符 5"/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>
          <a:xfrm>
            <a:off x="513970" y="2185200"/>
            <a:ext cx="5494153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1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5"/>
          <p:cNvSpPr>
            <a:spLocks noGrp="1"/>
          </p:cNvSpPr>
          <p:nvPr>
            <p:ph type="body" sz="quarter" idx="21"/>
            <p:custDataLst>
              <p:tags r:id="rId9"/>
            </p:custDataLst>
          </p:nvPr>
        </p:nvSpPr>
        <p:spPr>
          <a:xfrm>
            <a:off x="6198648" y="2185200"/>
            <a:ext cx="5494153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1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4"/>
          <p:cNvSpPr>
            <a:spLocks noGrp="1"/>
          </p:cNvSpPr>
          <p:nvPr>
            <p:ph type="body" sz="quarter" idx="15"/>
            <p:custDataLst>
              <p:tags r:id="rId10"/>
            </p:custDataLst>
          </p:nvPr>
        </p:nvSpPr>
        <p:spPr>
          <a:xfrm>
            <a:off x="513969" y="6325200"/>
            <a:ext cx="11165539" cy="19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 b="0" i="0">
                <a:latin typeface="+mn-lt"/>
                <a:ea typeface="宋体" panose="0201060003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62448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32993" y="57147"/>
            <a:ext cx="10515600" cy="687611"/>
          </a:xfrm>
        </p:spPr>
        <p:txBody>
          <a:bodyPr>
            <a:normAutofit/>
          </a:bodyPr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zh-CN" altLang="en-US" sz="2000" b="1" kern="12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32908"/>
            <a:fld id="{D5211B98-C0CC-452C-A383-C8CAD2359D0A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32908"/>
              <a:t>2023/5/2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32908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37141"/>
            <a:fld id="{871D5953-44DA-40F7-A29D-DDA0CF39EAFF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37141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5511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占位符 3"/>
          <p:cNvSpPr>
            <a:spLocks noGrp="1"/>
          </p:cNvSpPr>
          <p:nvPr>
            <p:ph type="title"/>
          </p:nvPr>
        </p:nvSpPr>
        <p:spPr>
          <a:xfrm>
            <a:off x="1303021" y="108874"/>
            <a:ext cx="11211036" cy="588580"/>
          </a:xfrm>
          <a:prstGeom prst="rect">
            <a:avLst/>
          </a:prstGeom>
        </p:spPr>
        <p:txBody>
          <a:bodyPr vert="horz" lIns="91410" tIns="45705" rIns="91410" bIns="45705" rtlCol="0" anchor="ctr">
            <a:normAutofit/>
          </a:bodyPr>
          <a:lstStyle>
            <a:lvl1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521440" y="6495262"/>
            <a:ext cx="670560" cy="2522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>
              <a:defRPr kumimoji="1" lang="en-US" altLang="zh-CN" sz="800" b="1" smtClean="0">
                <a:solidFill>
                  <a:prstClr val="black"/>
                </a:solidFill>
                <a:latin typeface="Arial" panose="020B0604020202090204"/>
                <a:ea typeface="微软雅黑"/>
              </a:defRPr>
            </a:lvl1pPr>
          </a:lstStyle>
          <a:p>
            <a:pPr defTabSz="456342"/>
            <a:r>
              <a:rPr lang="en-US" altLang="zh-CN"/>
              <a:t>-</a:t>
            </a:r>
            <a:fld id="{5CEF9895-D930-423D-83BE-F6773CF9B425}" type="slidenum">
              <a:rPr smtClean="0"/>
              <a:pPr defTabSz="456342"/>
              <a:t>‹#›</a:t>
            </a:fld>
            <a:r>
              <a:t>-</a:t>
            </a:r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>
          <a:xfrm>
            <a:off x="190103" y="6485748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690500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9DF71FC-3D06-450A-BC77-DE2445093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67" y="-21940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891704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1164188" y="676876"/>
            <a:ext cx="10473952" cy="0"/>
          </a:xfrm>
          <a:prstGeom prst="line">
            <a:avLst/>
          </a:prstGeom>
          <a:ln w="57150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>
            <a:extLst>
              <a:ext uri="{FF2B5EF4-FFF2-40B4-BE49-F238E27FC236}">
                <a16:creationId xmlns:a16="http://schemas.microsoft.com/office/drawing/2014/main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6" name="形状">
              <a:extLst>
                <a:ext uri="{FF2B5EF4-FFF2-40B4-BE49-F238E27FC236}">
                  <a16:creationId xmlns:a16="http://schemas.microsoft.com/office/drawing/2014/main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8" name="形状">
              <a:extLst>
                <a:ext uri="{FF2B5EF4-FFF2-40B4-BE49-F238E27FC236}">
                  <a16:creationId xmlns:a16="http://schemas.microsoft.com/office/drawing/2014/main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9" name="形状">
              <a:extLst>
                <a:ext uri="{FF2B5EF4-FFF2-40B4-BE49-F238E27FC236}">
                  <a16:creationId xmlns:a16="http://schemas.microsoft.com/office/drawing/2014/main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  <p:sp>
        <p:nvSpPr>
          <p:cNvPr id="1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37101439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02666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1391477" y="-5739"/>
            <a:ext cx="10972800" cy="849577"/>
          </a:xfrm>
          <a:prstGeom prst="rect">
            <a:avLst/>
          </a:prstGeom>
        </p:spPr>
        <p:txBody>
          <a:bodyPr vert="horz" lIns="67328" tIns="33654" rIns="67328" bIns="33654" rtlCol="0" anchor="ctr">
            <a:normAutofit/>
          </a:bodyPr>
          <a:lstStyle>
            <a:lvl1pPr>
              <a:defRPr lang="zh-CN" altLang="en-US"/>
            </a:lvl1pPr>
          </a:lstStyle>
          <a:p>
            <a:pPr lvl="0"/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639778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31418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530820CF-B880-4189-942D-D702A7CBA730}" type="datetimeFigureOut">
              <a:rPr lang="zh-CN" altLang="en-US" smtClean="0"/>
              <a:pPr/>
              <a:t>2023/5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1" y="6356355"/>
            <a:ext cx="3860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49341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1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25419" y="149642"/>
            <a:ext cx="9767125" cy="422861"/>
          </a:xfrm>
          <a:prstGeom prst="rect">
            <a:avLst/>
          </a:prstGeom>
        </p:spPr>
        <p:txBody>
          <a:bodyPr vert="horz" lIns="77396" tIns="38691" rIns="77396" bIns="38691" rtlCol="0" anchor="t">
            <a:noAutofit/>
          </a:bodyPr>
          <a:lstStyle>
            <a:lvl1pPr>
              <a:defRPr lang="zh-CN" altLang="en-US" sz="2933" b="0" i="0" dirty="0">
                <a:latin typeface="+mn-lt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279402" y="825501"/>
            <a:ext cx="11634788" cy="38591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79402" y="1270563"/>
            <a:ext cx="11634788" cy="324359"/>
          </a:xfrm>
          <a:prstGeom prst="rect">
            <a:avLst/>
          </a:prstGeom>
        </p:spPr>
        <p:txBody>
          <a:bodyPr>
            <a:spAutoFit/>
          </a:bodyPr>
          <a:lstStyle>
            <a:lvl1pPr marL="538467" indent="-228594">
              <a:lnSpc>
                <a:spcPct val="100000"/>
              </a:lnSpc>
              <a:buFont typeface="Wingdings" panose="05000000000000000000" pitchFamily="2" charset="2"/>
              <a:buChar char="è"/>
              <a:defRPr sz="1600"/>
            </a:lvl1pPr>
            <a:lvl2pPr marL="685783" indent="-228594">
              <a:buFont typeface="Wingdings" panose="05000000000000000000" pitchFamily="2" charset="2"/>
              <a:buChar char="è"/>
              <a:defRPr sz="1800"/>
            </a:lvl2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279401" y="6392881"/>
            <a:ext cx="9785351" cy="3097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>
                <a:latin typeface="+mn-lt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841733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4D36242-5F15-EEBE-B083-C466CBF14B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86522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lang="zh-CN" altLang="en-US" sz="5400" b="1" kern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lvl="0" algn="ctr" defTabSz="456641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93482173-E474-64B2-6BE1-F48B4FB587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20832"/>
            <a:ext cx="9144000" cy="4565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1B1F80E-80CB-37CF-F121-7915248608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43FAB0-5D41-4700-929E-FA0387B9743D}" type="datetimeFigureOut">
              <a:rPr lang="zh-CN" altLang="en-US" smtClean="0"/>
              <a:t>2023/5/2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9C759D6-C627-C664-F890-E0E3AACAD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6599200-7DF4-AF66-6E3F-60F9FC272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8FC6686-5447-4067-908C-5B51AD2184E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74695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灯片编号占位符 8"/>
          <p:cNvSpPr>
            <a:spLocks noGrp="1"/>
          </p:cNvSpPr>
          <p:nvPr>
            <p:ph type="sldNum" sz="quarter" idx="11"/>
          </p:nvPr>
        </p:nvSpPr>
        <p:spPr>
          <a:xfrm>
            <a:off x="9011840" y="6376255"/>
            <a:ext cx="2844800" cy="3651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 b="1">
                <a:solidFill>
                  <a:srgbClr val="002060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fld id="{FB4CACAA-3B2D-4A20-B512-17AA84E43338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67" y="164637"/>
            <a:ext cx="11165540" cy="432000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2"/>
          </p:nvPr>
        </p:nvSpPr>
        <p:spPr>
          <a:xfrm>
            <a:off x="190103" y="6485748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506181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3469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1164188" y="676876"/>
            <a:ext cx="10473952" cy="0"/>
          </a:xfrm>
          <a:prstGeom prst="line">
            <a:avLst/>
          </a:prstGeom>
          <a:ln w="57150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>
            <a:extLst>
              <a:ext uri="{FF2B5EF4-FFF2-40B4-BE49-F238E27FC236}">
                <a16:creationId xmlns:a16="http://schemas.microsoft.com/office/drawing/2014/main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6" name="形状">
              <a:extLst>
                <a:ext uri="{FF2B5EF4-FFF2-40B4-BE49-F238E27FC236}">
                  <a16:creationId xmlns:a16="http://schemas.microsoft.com/office/drawing/2014/main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8" name="形状">
              <a:extLst>
                <a:ext uri="{FF2B5EF4-FFF2-40B4-BE49-F238E27FC236}">
                  <a16:creationId xmlns:a16="http://schemas.microsoft.com/office/drawing/2014/main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9" name="形状">
              <a:extLst>
                <a:ext uri="{FF2B5EF4-FFF2-40B4-BE49-F238E27FC236}">
                  <a16:creationId xmlns:a16="http://schemas.microsoft.com/office/drawing/2014/main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</p:grpSp>
      <p:sp>
        <p:nvSpPr>
          <p:cNvPr id="1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fld id="{EF51E6AE-8AB1-4E2D-A372-AEFD273C2CA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88689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4646B7EF-DBED-4E4B-B7E0-B0706018AE85}"/>
              </a:ext>
            </a:extLst>
          </p:cNvPr>
          <p:cNvGrpSpPr/>
          <p:nvPr userDrawn="1"/>
        </p:nvGrpSpPr>
        <p:grpSpPr>
          <a:xfrm>
            <a:off x="11129443" y="194721"/>
            <a:ext cx="593704" cy="591936"/>
            <a:chOff x="438194" y="470976"/>
            <a:chExt cx="1187407" cy="1183872"/>
          </a:xfrm>
        </p:grpSpPr>
        <p:sp>
          <p:nvSpPr>
            <p:cNvPr id="5" name="形状">
              <a:extLst>
                <a:ext uri="{FF2B5EF4-FFF2-40B4-BE49-F238E27FC236}">
                  <a16:creationId xmlns:a16="http://schemas.microsoft.com/office/drawing/2014/main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6" name="形状">
              <a:extLst>
                <a:ext uri="{FF2B5EF4-FFF2-40B4-BE49-F238E27FC236}">
                  <a16:creationId xmlns:a16="http://schemas.microsoft.com/office/drawing/2014/main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3" name="形状">
              <a:extLst>
                <a:ext uri="{FF2B5EF4-FFF2-40B4-BE49-F238E27FC236}">
                  <a16:creationId xmlns:a16="http://schemas.microsoft.com/office/drawing/2014/main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</p:grpSp>
    </p:spTree>
    <p:extLst>
      <p:ext uri="{BB962C8B-B14F-4D97-AF65-F5344CB8AC3E}">
        <p14:creationId xmlns:p14="http://schemas.microsoft.com/office/powerpoint/2010/main" val="337278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.vml"/><Relationship Id="rId1" Type="http://schemas.openxmlformats.org/officeDocument/2006/relationships/theme" Target="../theme/theme2.xml"/><Relationship Id="rId6" Type="http://schemas.openxmlformats.org/officeDocument/2006/relationships/oleObject" Target="../embeddings/oleObject3.bin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2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4.v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22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3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33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1.png"/><Relationship Id="rId10" Type="http://schemas.openxmlformats.org/officeDocument/2006/relationships/tags" Target="../tags/tag32.xml"/><Relationship Id="rId4" Type="http://schemas.openxmlformats.org/officeDocument/2006/relationships/slideLayout" Target="../slideLayouts/slideLayout32.xml"/><Relationship Id="rId9" Type="http://schemas.openxmlformats.org/officeDocument/2006/relationships/vmlDrawing" Target="../drawings/vmlDrawing6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32993" y="1"/>
            <a:ext cx="10515600" cy="687611"/>
          </a:xfrm>
          <a:prstGeom prst="rect">
            <a:avLst/>
          </a:prstGeom>
        </p:spPr>
        <p:txBody>
          <a:bodyPr vert="horz" lIns="77396" tIns="38691" rIns="77396" bIns="38691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8" y="836716"/>
            <a:ext cx="10515600" cy="5340251"/>
          </a:xfrm>
          <a:prstGeom prst="rect">
            <a:avLst/>
          </a:prstGeom>
        </p:spPr>
        <p:txBody>
          <a:bodyPr vert="horz" lIns="77396" tIns="38691" rIns="77396" bIns="38691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20"/>
            <a:ext cx="2743200" cy="365125"/>
          </a:xfrm>
          <a:prstGeom prst="rect">
            <a:avLst/>
          </a:prstGeom>
        </p:spPr>
        <p:txBody>
          <a:bodyPr vert="horz" lIns="77396" tIns="38691" rIns="77396" bIns="38691" rtlCol="0" anchor="ctr"/>
          <a:lstStyle>
            <a:lvl1pPr algn="l">
              <a:defRPr sz="13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32908"/>
            <a:fld id="{D5211B98-C0CC-452C-A383-C8CAD2359D0A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32908"/>
              <a:t>2023/5/2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8" y="6356420"/>
            <a:ext cx="4114800" cy="365125"/>
          </a:xfrm>
          <a:prstGeom prst="rect">
            <a:avLst/>
          </a:prstGeom>
        </p:spPr>
        <p:txBody>
          <a:bodyPr vert="horz" lIns="77396" tIns="38691" rIns="77396" bIns="38691" rtlCol="0" anchor="ctr"/>
          <a:lstStyle>
            <a:lvl1pPr algn="ctr">
              <a:defRPr sz="13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32908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724"/>
            <a:ext cx="2743200" cy="365125"/>
          </a:xfrm>
          <a:prstGeom prst="rect">
            <a:avLst/>
          </a:prstGeom>
        </p:spPr>
        <p:txBody>
          <a:bodyPr vert="horz" lIns="77674" tIns="38835" rIns="77674" bIns="38835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37141"/>
            <a:fld id="{871D5953-44DA-40F7-A29D-DDA0CF39EAFF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37141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54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74" y="122565"/>
            <a:ext cx="624751" cy="618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auto">
          <a:xfrm rot="10800000" flipV="1">
            <a:off x="1192481" y="644692"/>
            <a:ext cx="10500923" cy="36000"/>
          </a:xfrm>
          <a:prstGeom prst="rect">
            <a:avLst/>
          </a:prstGeom>
          <a:gradFill>
            <a:gsLst>
              <a:gs pos="49463">
                <a:srgbClr val="91BDFF"/>
              </a:gs>
              <a:gs pos="3000">
                <a:srgbClr val="0166FF">
                  <a:lumMod val="83000"/>
                  <a:lumOff val="17000"/>
                </a:srgbClr>
              </a:gs>
              <a:gs pos="100000">
                <a:schemeClr val="bg1"/>
              </a:gs>
            </a:gsLst>
            <a:lin ang="0" scaled="0"/>
          </a:gradFill>
          <a:ln w="28575" algn="ctr">
            <a:noFill/>
            <a:miter lim="800000"/>
          </a:ln>
          <a:effectLst/>
        </p:spPr>
        <p:txBody>
          <a:bodyPr wrap="none" lIns="70736" tIns="35367" rIns="70736" bIns="35367" anchor="ctr"/>
          <a:lstStyle/>
          <a:p>
            <a:pPr defTabSz="714569">
              <a:defRPr/>
            </a:pPr>
            <a:endParaRPr lang="zh-CN" altLang="en-US" sz="1867" dirty="0">
              <a:ln>
                <a:solidFill>
                  <a:srgbClr val="002060"/>
                </a:solidFill>
              </a:ln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9" name="TextBox 6"/>
          <p:cNvSpPr txBox="1"/>
          <p:nvPr userDrawn="1"/>
        </p:nvSpPr>
        <p:spPr>
          <a:xfrm>
            <a:off x="10172838" y="6464914"/>
            <a:ext cx="1595255" cy="275252"/>
          </a:xfrm>
          <a:prstGeom prst="rect">
            <a:avLst/>
          </a:prstGeom>
          <a:noFill/>
        </p:spPr>
        <p:txBody>
          <a:bodyPr wrap="square" lIns="89733" tIns="44855" rIns="89733" bIns="44855" rtlCol="0">
            <a:spAutoFit/>
          </a:bodyPr>
          <a:lstStyle/>
          <a:p>
            <a:pPr algn="r" defTabSz="905911"/>
            <a:fld id="{5FC45764-003C-4B22-BBA8-1B6FE5FF9541}" type="slidenum">
              <a:rPr lang="zh-CN" altLang="en-US" sz="1200">
                <a:solidFill>
                  <a:prstClr val="black"/>
                </a:solidFill>
              </a:rPr>
              <a:pPr algn="r" defTabSz="905911"/>
              <a:t>‹#›</a:t>
            </a:fld>
            <a:endParaRPr lang="zh-CN" alt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915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115" r:id="rId3"/>
    <p:sldLayoutId id="2147484054" r:id="rId4"/>
    <p:sldLayoutId id="2147484114" r:id="rId5"/>
    <p:sldLayoutId id="2147484116" r:id="rId6"/>
  </p:sldLayoutIdLst>
  <p:hf sldNum="0" hdr="0" ftr="0" dt="0"/>
  <p:txStyles>
    <p:titleStyle>
      <a:lvl1pPr algn="l" defTabSz="1032908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58227" indent="-258227" algn="l" defTabSz="1032908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2267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774681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267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291134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808435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324889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841342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57796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874250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390704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6454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2908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9361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66662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83115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99569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16023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32477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1347603"/>
              </p:ext>
            </p:extLst>
          </p:nvPr>
        </p:nvGraphicFramePr>
        <p:xfrm>
          <a:off x="49" y="69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" y="69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14061" y="730800"/>
            <a:ext cx="11165540" cy="432000"/>
          </a:xfrm>
          <a:prstGeom prst="rect">
            <a:avLst/>
          </a:prstGeom>
        </p:spPr>
        <p:txBody>
          <a:bodyPr vert="horz" lIns="67328" tIns="33654" rIns="67328" bIns="33654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>
          <a:xfrm>
            <a:off x="514061" y="1234877"/>
            <a:ext cx="11165540" cy="314187"/>
          </a:xfrm>
          <a:prstGeom prst="rect">
            <a:avLst/>
          </a:prstGeom>
        </p:spPr>
        <p:txBody>
          <a:bodyPr vert="horz" lIns="67328" tIns="33654" rIns="67328" bIns="33654" rtlCol="0">
            <a:spAutoFit/>
          </a:bodyPr>
          <a:lstStyle/>
          <a:p>
            <a:pPr marL="431503" lvl="0">
              <a:buFont typeface="Wingdings" panose="05000000000000000000" pitchFamily="2" charset="2"/>
              <a:buChar char="è"/>
            </a:pPr>
            <a:r>
              <a:rPr lang="zh-CN" altLang="en-US" dirty="0"/>
              <a:t>单击此处编辑母版文本样式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754F8194-11A1-4A81-B790-899E972FA7AD}"/>
              </a:ext>
            </a:extLst>
          </p:cNvPr>
          <p:cNvSpPr txBox="1"/>
          <p:nvPr/>
        </p:nvSpPr>
        <p:spPr>
          <a:xfrm>
            <a:off x="10172838" y="6464934"/>
            <a:ext cx="1595255" cy="275286"/>
          </a:xfrm>
          <a:prstGeom prst="rect">
            <a:avLst/>
          </a:prstGeom>
          <a:noFill/>
        </p:spPr>
        <p:txBody>
          <a:bodyPr wrap="square" lIns="89771" tIns="44872" rIns="89771" bIns="44872" rtlCol="0">
            <a:spAutoFit/>
          </a:bodyPr>
          <a:lstStyle/>
          <a:p>
            <a:pPr algn="r" defTabSz="902408"/>
            <a:fld id="{5FC45764-003C-4B22-BBA8-1B6FE5FF9541}" type="slidenum">
              <a:rPr lang="zh-CN" altLang="en-US" sz="1200">
                <a:solidFill>
                  <a:prstClr val="black"/>
                </a:solidFill>
              </a:rPr>
              <a:pPr algn="r" defTabSz="902408"/>
              <a:t>‹#›</a:t>
            </a:fld>
            <a:endParaRPr lang="zh-CN" altLang="en-US" sz="1200" dirty="0">
              <a:solidFill>
                <a:prstClr val="black"/>
              </a:solidFill>
            </a:endParaRPr>
          </a:p>
        </p:txBody>
      </p:sp>
      <p:pic>
        <p:nvPicPr>
          <p:cNvPr id="11" name="Picture 54">
            <a:extLst>
              <a:ext uri="{FF2B5EF4-FFF2-40B4-BE49-F238E27FC236}">
                <a16:creationId xmlns:a16="http://schemas.microsoft.com/office/drawing/2014/main" id="{02C4358E-3CD3-478F-9A4E-4B5BFEDB4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74" y="122565"/>
            <a:ext cx="624751" cy="618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0">
            <a:extLst>
              <a:ext uri="{FF2B5EF4-FFF2-40B4-BE49-F238E27FC236}">
                <a16:creationId xmlns:a16="http://schemas.microsoft.com/office/drawing/2014/main" id="{E53A09DC-32FA-4578-AACB-D37F524EB2F4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1192481" y="644692"/>
            <a:ext cx="10500923" cy="36000"/>
          </a:xfrm>
          <a:prstGeom prst="rect">
            <a:avLst/>
          </a:prstGeom>
          <a:gradFill>
            <a:gsLst>
              <a:gs pos="49463">
                <a:srgbClr val="91BDFF"/>
              </a:gs>
              <a:gs pos="3000">
                <a:srgbClr val="0166FF">
                  <a:lumMod val="83000"/>
                  <a:lumOff val="17000"/>
                </a:srgbClr>
              </a:gs>
              <a:gs pos="100000">
                <a:schemeClr val="bg1"/>
              </a:gs>
            </a:gsLst>
            <a:lin ang="0" scaled="0"/>
          </a:gradFill>
          <a:ln w="28575" algn="ctr">
            <a:noFill/>
            <a:miter lim="800000"/>
            <a:headEnd/>
            <a:tailEnd/>
          </a:ln>
          <a:effectLst/>
        </p:spPr>
        <p:txBody>
          <a:bodyPr wrap="none" lIns="70736" tIns="35367" rIns="70736" bIns="35367" anchor="ctr"/>
          <a:lstStyle/>
          <a:p>
            <a:pPr defTabSz="714263">
              <a:defRPr/>
            </a:pPr>
            <a:endParaRPr lang="zh-CN" altLang="en-US" sz="1867" dirty="0">
              <a:ln>
                <a:solidFill>
                  <a:srgbClr val="002060"/>
                </a:solidFill>
              </a:ln>
              <a:solidFill>
                <a:srgbClr val="00206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61484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733186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3313" indent="-183313" algn="l" defTabSz="733186" rtl="0" eaLnBrk="1" latinLnBrk="0" hangingPunct="1">
        <a:lnSpc>
          <a:spcPct val="100000"/>
        </a:lnSpc>
        <a:spcBef>
          <a:spcPts val="601"/>
        </a:spcBef>
        <a:buFont typeface="Arial" panose="020B0604020202020204" pitchFamily="34" charset="0"/>
        <a:buChar char="•"/>
        <a:defRPr lang="zh-CN" altLang="en-US" sz="1600" b="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49914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6493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283123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649709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016296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382902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749510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3116106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1pPr>
      <a:lvl2pPr marL="366596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2pPr>
      <a:lvl3pPr marL="733186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099789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1466417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1833012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199570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566235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2932787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A4A3A4"/>
          </p15:clr>
        </p15:guide>
        <p15:guide id="2" pos="3075">
          <p15:clr>
            <a:srgbClr val="A4A3A4"/>
          </p15:clr>
        </p15:guide>
        <p15:guide id="3" pos="3165">
          <p15:clr>
            <a:srgbClr val="A4A3A4"/>
          </p15:clr>
        </p15:guide>
        <p15:guide id="4" pos="5979">
          <p15:clr>
            <a:srgbClr val="A4A3A4"/>
          </p15:clr>
        </p15:guide>
        <p15:guide id="5" pos="263">
          <p15:clr>
            <a:srgbClr val="A4A3A4"/>
          </p15:clr>
        </p15:guide>
        <p15:guide id="6" orient="horz" pos="550">
          <p15:clr>
            <a:srgbClr val="A4A3A4"/>
          </p15:clr>
        </p15:guide>
        <p15:guide id="7" orient="horz" pos="845">
          <p15:clr>
            <a:srgbClr val="A4A3A4"/>
          </p15:clr>
        </p15:guide>
        <p15:guide id="8" orient="horz" pos="119">
          <p15:clr>
            <a:srgbClr val="A4A3A4"/>
          </p15:clr>
        </p15:guide>
        <p15:guide id="9" orient="horz" pos="1366">
          <p15:clr>
            <a:srgbClr val="A4A3A4"/>
          </p15:clr>
        </p15:guide>
        <p15:guide id="10" orient="horz" pos="1593">
          <p15:clr>
            <a:srgbClr val="A4A3A4"/>
          </p15:clr>
        </p15:guide>
        <p15:guide id="11" orient="horz" pos="1638">
          <p15:clr>
            <a:srgbClr val="A4A3A4"/>
          </p15:clr>
        </p15:guide>
        <p15:guide id="12" orient="horz" pos="4110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fld id="{EF51E6AE-8AB1-4E2D-A372-AEFD273C2CA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103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</p:sldLayoutIdLst>
  <p:hf hdr="0" ftr="0" dt="0"/>
  <p:txStyles>
    <p:titleStyle>
      <a:lvl1pPr algn="l" defTabSz="342866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85717" indent="-85717" algn="l" defTabSz="3428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1" kern="1200">
          <a:solidFill>
            <a:schemeClr val="tx1"/>
          </a:solidFill>
          <a:latin typeface="+mn-lt"/>
          <a:ea typeface="+mn-ea"/>
          <a:cs typeface="+mn-cs"/>
        </a:defRPr>
      </a:lvl1pPr>
      <a:lvl2pPr marL="25715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28583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3pPr>
      <a:lvl4pPr marL="600016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771449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9428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114315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85747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4571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7143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342866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514299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685732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857165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028597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0003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37146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49" y="69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9" y="69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14061" y="730800"/>
            <a:ext cx="11165540" cy="432000"/>
          </a:xfrm>
          <a:prstGeom prst="rect">
            <a:avLst/>
          </a:prstGeom>
        </p:spPr>
        <p:txBody>
          <a:bodyPr vert="horz" lIns="67328" tIns="33654" rIns="67328" bIns="33654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514061" y="1234877"/>
            <a:ext cx="11165540" cy="314187"/>
          </a:xfrm>
          <a:prstGeom prst="rect">
            <a:avLst/>
          </a:prstGeom>
        </p:spPr>
        <p:txBody>
          <a:bodyPr vert="horz" lIns="67328" tIns="33654" rIns="67328" bIns="33654" rtlCol="0">
            <a:spAutoFit/>
          </a:bodyPr>
          <a:lstStyle/>
          <a:p>
            <a:pPr marL="431789" lvl="0">
              <a:buFont typeface="Wingdings" panose="05000000000000000000" pitchFamily="2" charset="2"/>
              <a:buChar char="è"/>
            </a:pPr>
            <a:r>
              <a:rPr lang="zh-CN" altLang="en-US" dirty="0"/>
              <a:t>单击此处编辑母版文本样式</a:t>
            </a:r>
          </a:p>
        </p:txBody>
      </p:sp>
      <p:sp>
        <p:nvSpPr>
          <p:cNvPr id="8" name="TextBox 6"/>
          <p:cNvSpPr txBox="1"/>
          <p:nvPr/>
        </p:nvSpPr>
        <p:spPr>
          <a:xfrm>
            <a:off x="10172838" y="6464934"/>
            <a:ext cx="1595255" cy="275286"/>
          </a:xfrm>
          <a:prstGeom prst="rect">
            <a:avLst/>
          </a:prstGeom>
          <a:noFill/>
        </p:spPr>
        <p:txBody>
          <a:bodyPr wrap="square" lIns="89771" tIns="44872" rIns="89771" bIns="44872" rtlCol="0">
            <a:spAutoFit/>
          </a:bodyPr>
          <a:lstStyle/>
          <a:p>
            <a:pPr algn="r" defTabSz="901677"/>
            <a:fld id="{5FC45764-003C-4B22-BBA8-1B6FE5FF9541}" type="slidenum">
              <a:rPr lang="zh-CN" altLang="en-US" sz="1200">
                <a:solidFill>
                  <a:prstClr val="black"/>
                </a:solidFill>
              </a:rPr>
              <a:pPr algn="r" defTabSz="901677"/>
              <a:t>‹#›</a:t>
            </a:fld>
            <a:endParaRPr lang="zh-CN" altLang="en-US" sz="1200" dirty="0">
              <a:solidFill>
                <a:prstClr val="black"/>
              </a:solidFill>
            </a:endParaRPr>
          </a:p>
        </p:txBody>
      </p:sp>
      <p:pic>
        <p:nvPicPr>
          <p:cNvPr id="11" name="Picture 54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74" y="122565"/>
            <a:ext cx="624751" cy="618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0"/>
          <p:cNvSpPr>
            <a:spLocks noChangeArrowheads="1"/>
          </p:cNvSpPr>
          <p:nvPr/>
        </p:nvSpPr>
        <p:spPr bwMode="auto">
          <a:xfrm rot="10800000" flipV="1">
            <a:off x="1192481" y="644692"/>
            <a:ext cx="10500923" cy="36000"/>
          </a:xfrm>
          <a:prstGeom prst="rect">
            <a:avLst/>
          </a:prstGeom>
          <a:gradFill>
            <a:gsLst>
              <a:gs pos="49463">
                <a:srgbClr val="91BDFF"/>
              </a:gs>
              <a:gs pos="3000">
                <a:srgbClr val="0166FF">
                  <a:lumMod val="83000"/>
                  <a:lumOff val="17000"/>
                </a:srgbClr>
              </a:gs>
              <a:gs pos="100000">
                <a:schemeClr val="bg1"/>
              </a:gs>
            </a:gsLst>
            <a:lin ang="0" scaled="0"/>
          </a:gradFill>
          <a:ln w="28575" algn="ctr">
            <a:noFill/>
            <a:miter lim="800000"/>
          </a:ln>
          <a:effectLst/>
        </p:spPr>
        <p:txBody>
          <a:bodyPr wrap="none" lIns="70736" tIns="35367" rIns="70736" bIns="35367" anchor="ctr"/>
          <a:lstStyle/>
          <a:p>
            <a:pPr defTabSz="713722">
              <a:defRPr/>
            </a:pPr>
            <a:endParaRPr lang="zh-CN" altLang="en-US" sz="1867" dirty="0">
              <a:ln>
                <a:solidFill>
                  <a:srgbClr val="002060"/>
                </a:solidFill>
              </a:ln>
              <a:solidFill>
                <a:srgbClr val="002060"/>
              </a:solidFill>
              <a:cs typeface="Arial" panose="020B0604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668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5" r:id="rId4"/>
    <p:sldLayoutId id="2147484066" r:id="rId5"/>
    <p:sldLayoutId id="2147484067" r:id="rId6"/>
    <p:sldLayoutId id="2147484068" r:id="rId7"/>
    <p:sldLayoutId id="2147484069" r:id="rId8"/>
    <p:sldLayoutId id="2147484070" r:id="rId9"/>
    <p:sldLayoutId id="2147484071" r:id="rId10"/>
  </p:sldLayoutIdLst>
  <p:hf hdr="0" ftr="0" dt="0"/>
  <p:txStyles>
    <p:titleStyle>
      <a:lvl1pPr algn="l" defTabSz="732348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3722" indent="-183722" algn="l" defTabSz="732348" rtl="0" eaLnBrk="1" latinLnBrk="0" hangingPunct="1">
        <a:lnSpc>
          <a:spcPct val="100000"/>
        </a:lnSpc>
        <a:spcBef>
          <a:spcPts val="600"/>
        </a:spcBef>
        <a:buFont typeface="Arial" panose="020B0604020202090204" pitchFamily="34" charset="0"/>
        <a:buChar char="•"/>
        <a:defRPr lang="zh-CN" altLang="en-US" sz="1600" b="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5032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607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283515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650112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01671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383307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749905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3116502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1pPr>
      <a:lvl2pPr marL="366598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2pPr>
      <a:lvl3pPr marL="733195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099793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146639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1832988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199585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566183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293278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3259753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8" r:id="rId4"/>
  </p:sldLayoutIdLst>
  <p:hf hdr="0" ftr="0" dt="0"/>
  <p:txStyles>
    <p:titleStyle>
      <a:lvl1pPr algn="l" defTabSz="342866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85717" indent="-85717" algn="l" defTabSz="3428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1" kern="1200">
          <a:solidFill>
            <a:schemeClr val="tx1"/>
          </a:solidFill>
          <a:latin typeface="+mn-lt"/>
          <a:ea typeface="+mn-ea"/>
          <a:cs typeface="+mn-cs"/>
        </a:defRPr>
      </a:lvl1pPr>
      <a:lvl2pPr marL="25715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28583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3pPr>
      <a:lvl4pPr marL="600016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771449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9428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114315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85747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4571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7143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342866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514299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685732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857165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028597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0003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37146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192198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</p:sldLayoutIdLst>
  <p:hf hdr="0" ftr="0" dt="0"/>
  <p:txStyles>
    <p:titleStyle>
      <a:lvl1pPr algn="l" defTabSz="342866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85717" indent="-85717" algn="l" defTabSz="3428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1" kern="1200">
          <a:solidFill>
            <a:schemeClr val="tx1"/>
          </a:solidFill>
          <a:latin typeface="+mn-lt"/>
          <a:ea typeface="+mn-ea"/>
          <a:cs typeface="+mn-cs"/>
        </a:defRPr>
      </a:lvl1pPr>
      <a:lvl2pPr marL="25715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28583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3pPr>
      <a:lvl4pPr marL="600016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771449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9428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114315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85747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4571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7143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342866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514299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685732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857165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028597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0003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37146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49" y="69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9" y="69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14061" y="730800"/>
            <a:ext cx="11165540" cy="432000"/>
          </a:xfrm>
          <a:prstGeom prst="rect">
            <a:avLst/>
          </a:prstGeom>
        </p:spPr>
        <p:txBody>
          <a:bodyPr vert="horz" lIns="67328" tIns="33654" rIns="67328" bIns="33654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514061" y="1234877"/>
            <a:ext cx="11165540" cy="314187"/>
          </a:xfrm>
          <a:prstGeom prst="rect">
            <a:avLst/>
          </a:prstGeom>
        </p:spPr>
        <p:txBody>
          <a:bodyPr vert="horz" lIns="67328" tIns="33654" rIns="67328" bIns="33654" rtlCol="0">
            <a:spAutoFit/>
          </a:bodyPr>
          <a:lstStyle/>
          <a:p>
            <a:pPr marL="431789" lvl="0">
              <a:buFont typeface="Wingdings" panose="05000000000000000000" pitchFamily="2" charset="2"/>
              <a:buChar char="è"/>
            </a:pPr>
            <a:r>
              <a:rPr lang="zh-CN" altLang="en-US" dirty="0"/>
              <a:t>单击此处编辑母版文本样式</a:t>
            </a:r>
          </a:p>
        </p:txBody>
      </p:sp>
      <p:sp>
        <p:nvSpPr>
          <p:cNvPr id="8" name="TextBox 6"/>
          <p:cNvSpPr txBox="1"/>
          <p:nvPr/>
        </p:nvSpPr>
        <p:spPr>
          <a:xfrm>
            <a:off x="10172838" y="6464934"/>
            <a:ext cx="1595255" cy="275286"/>
          </a:xfrm>
          <a:prstGeom prst="rect">
            <a:avLst/>
          </a:prstGeom>
          <a:noFill/>
        </p:spPr>
        <p:txBody>
          <a:bodyPr wrap="square" lIns="89771" tIns="44872" rIns="89771" bIns="44872" rtlCol="0">
            <a:spAutoFit/>
          </a:bodyPr>
          <a:lstStyle/>
          <a:p>
            <a:pPr algn="r" defTabSz="901677"/>
            <a:fld id="{5FC45764-003C-4B22-BBA8-1B6FE5FF9541}" type="slidenum">
              <a:rPr lang="zh-CN" altLang="en-US" sz="1200">
                <a:solidFill>
                  <a:prstClr val="black"/>
                </a:solidFill>
              </a:rPr>
              <a:pPr algn="r" defTabSz="901677"/>
              <a:t>‹#›</a:t>
            </a:fld>
            <a:endParaRPr lang="zh-CN" altLang="en-US" sz="1200" dirty="0">
              <a:solidFill>
                <a:prstClr val="black"/>
              </a:solidFill>
            </a:endParaRPr>
          </a:p>
        </p:txBody>
      </p:sp>
      <p:pic>
        <p:nvPicPr>
          <p:cNvPr id="11" name="Picture 5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74" y="122565"/>
            <a:ext cx="624751" cy="618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0"/>
          <p:cNvSpPr>
            <a:spLocks noChangeArrowheads="1"/>
          </p:cNvSpPr>
          <p:nvPr/>
        </p:nvSpPr>
        <p:spPr bwMode="auto">
          <a:xfrm rot="10800000" flipV="1">
            <a:off x="1192481" y="644692"/>
            <a:ext cx="10500923" cy="36000"/>
          </a:xfrm>
          <a:prstGeom prst="rect">
            <a:avLst/>
          </a:prstGeom>
          <a:gradFill>
            <a:gsLst>
              <a:gs pos="49463">
                <a:srgbClr val="91BDFF"/>
              </a:gs>
              <a:gs pos="3000">
                <a:srgbClr val="0166FF">
                  <a:lumMod val="83000"/>
                  <a:lumOff val="17000"/>
                </a:srgbClr>
              </a:gs>
              <a:gs pos="100000">
                <a:schemeClr val="bg1"/>
              </a:gs>
            </a:gsLst>
            <a:lin ang="0" scaled="0"/>
          </a:gradFill>
          <a:ln w="28575" algn="ctr">
            <a:noFill/>
            <a:miter lim="800000"/>
          </a:ln>
          <a:effectLst/>
        </p:spPr>
        <p:txBody>
          <a:bodyPr wrap="none" lIns="70736" tIns="35367" rIns="70736" bIns="35367" anchor="ctr"/>
          <a:lstStyle/>
          <a:p>
            <a:pPr defTabSz="713722">
              <a:defRPr/>
            </a:pPr>
            <a:endParaRPr lang="zh-CN" altLang="en-US" sz="1867" dirty="0">
              <a:ln>
                <a:solidFill>
                  <a:srgbClr val="002060"/>
                </a:solidFill>
              </a:ln>
              <a:solidFill>
                <a:srgbClr val="002060"/>
              </a:solidFill>
              <a:cs typeface="Arial" panose="020B0604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288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</p:sldLayoutIdLst>
  <p:hf hdr="0" ftr="0" dt="0"/>
  <p:txStyles>
    <p:titleStyle>
      <a:lvl1pPr algn="l" defTabSz="732348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3722" indent="-183722" algn="l" defTabSz="732348" rtl="0" eaLnBrk="1" latinLnBrk="0" hangingPunct="1">
        <a:lnSpc>
          <a:spcPct val="100000"/>
        </a:lnSpc>
        <a:spcBef>
          <a:spcPts val="600"/>
        </a:spcBef>
        <a:buFont typeface="Arial" panose="020B0604020202090204" pitchFamily="34" charset="0"/>
        <a:buChar char="•"/>
        <a:defRPr lang="zh-CN" altLang="en-US" sz="1600" b="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5032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607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283515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650112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01671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383307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749905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3116502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1pPr>
      <a:lvl2pPr marL="366598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2pPr>
      <a:lvl3pPr marL="733195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099793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146639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1832988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199585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566183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293278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hyperlink" Target="http://baike.baidu.com/image/948bcfc837e8dc277f3e6fbb" TargetMode="External"/><Relationship Id="rId18" Type="http://schemas.openxmlformats.org/officeDocument/2006/relationships/image" Target="../media/image20.jpeg"/><Relationship Id="rId3" Type="http://schemas.openxmlformats.org/officeDocument/2006/relationships/image" Target="../media/image5.png"/><Relationship Id="rId21" Type="http://schemas.openxmlformats.org/officeDocument/2006/relationships/image" Target="../media/image23.jpeg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17" Type="http://schemas.openxmlformats.org/officeDocument/2006/relationships/image" Target="../media/image19.png"/><Relationship Id="rId2" Type="http://schemas.openxmlformats.org/officeDocument/2006/relationships/image" Target="../media/image6.png"/><Relationship Id="rId16" Type="http://schemas.openxmlformats.org/officeDocument/2006/relationships/image" Target="../media/image18.jpe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11" Type="http://schemas.openxmlformats.org/officeDocument/2006/relationships/image" Target="../media/image14.png"/><Relationship Id="rId5" Type="http://schemas.openxmlformats.org/officeDocument/2006/relationships/image" Target="../media/image8.jpeg"/><Relationship Id="rId15" Type="http://schemas.openxmlformats.org/officeDocument/2006/relationships/image" Target="../media/image17.jpeg"/><Relationship Id="rId10" Type="http://schemas.openxmlformats.org/officeDocument/2006/relationships/image" Target="../media/image13.jpeg"/><Relationship Id="rId19" Type="http://schemas.openxmlformats.org/officeDocument/2006/relationships/image" Target="../media/image21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Relationship Id="rId14" Type="http://schemas.openxmlformats.org/officeDocument/2006/relationships/image" Target="../media/image16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jp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>
            <a:extLst>
              <a:ext uri="{FF2B5EF4-FFF2-40B4-BE49-F238E27FC236}">
                <a16:creationId xmlns:a16="http://schemas.microsoft.com/office/drawing/2014/main" id="{F2967415-4E87-DD5A-69EA-4F59A7AD789B}"/>
              </a:ext>
            </a:extLst>
          </p:cNvPr>
          <p:cNvGrpSpPr/>
          <p:nvPr/>
        </p:nvGrpSpPr>
        <p:grpSpPr>
          <a:xfrm>
            <a:off x="407706" y="1768080"/>
            <a:ext cx="11376587" cy="2608803"/>
            <a:chOff x="407706" y="1768080"/>
            <a:chExt cx="11376587" cy="2608803"/>
          </a:xfrm>
        </p:grpSpPr>
        <p:sp>
          <p:nvSpPr>
            <p:cNvPr id="6" name="标题 16"/>
            <p:cNvSpPr txBox="1"/>
            <p:nvPr/>
          </p:nvSpPr>
          <p:spPr>
            <a:xfrm>
              <a:off x="407706" y="1768080"/>
              <a:ext cx="11376587" cy="2208692"/>
            </a:xfrm>
            <a:prstGeom prst="rect">
              <a:avLst/>
            </a:prstGeom>
          </p:spPr>
          <p:txBody>
            <a:bodyPr anchor="ctr"/>
            <a:lstStyle/>
            <a:p>
              <a:pPr algn="ctr" defTabSz="456641" eaLnBrk="0" fontAlgn="base" hangingPunct="0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4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汽乘用车</a:t>
              </a:r>
              <a:r>
                <a:rPr lang="en-US" altLang="zh-CN" sz="4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(MG</a:t>
              </a:r>
              <a:r>
                <a:rPr lang="zh-CN" altLang="en-US" sz="4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品牌</a:t>
              </a:r>
              <a:r>
                <a:rPr lang="en-US" altLang="zh-CN" sz="4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)</a:t>
              </a:r>
            </a:p>
            <a:p>
              <a:pPr algn="ctr" defTabSz="456641" eaLnBrk="0" fontAlgn="base" hangingPunct="0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4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XXXXXXXX</a:t>
              </a:r>
              <a:r>
                <a:rPr lang="zh-CN" altLang="en-US" sz="4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申请书</a:t>
              </a:r>
            </a:p>
          </p:txBody>
        </p:sp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id="{4F0711E9-B198-521E-2C0C-71A51F4395B5}"/>
                </a:ext>
              </a:extLst>
            </p:cNvPr>
            <p:cNvGrpSpPr/>
            <p:nvPr/>
          </p:nvGrpSpPr>
          <p:grpSpPr>
            <a:xfrm>
              <a:off x="1649877" y="3810000"/>
              <a:ext cx="8892246" cy="566883"/>
              <a:chOff x="5502385" y="7268541"/>
              <a:chExt cx="15871715" cy="1011826"/>
            </a:xfrm>
          </p:grpSpPr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B8572BF0-5A7A-FF59-5E66-C1800E67B4A8}"/>
                  </a:ext>
                </a:extLst>
              </p:cNvPr>
              <p:cNvSpPr txBox="1"/>
              <p:nvPr/>
            </p:nvSpPr>
            <p:spPr>
              <a:xfrm>
                <a:off x="10462566" y="7566213"/>
                <a:ext cx="5951348" cy="7141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000" dirty="0">
                    <a:solidFill>
                      <a:srgbClr val="0066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23.02</a:t>
                </a:r>
                <a:endParaRPr lang="zh-CN" altLang="en-US" dirty="0">
                  <a:solidFill>
                    <a:srgbClr val="0066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7" name="直接连接符 6">
                <a:extLst>
                  <a:ext uri="{FF2B5EF4-FFF2-40B4-BE49-F238E27FC236}">
                    <a16:creationId xmlns:a16="http://schemas.microsoft.com/office/drawing/2014/main" id="{D3FF292D-3775-8CB9-2912-27A7C3B1D940}"/>
                  </a:ext>
                </a:extLst>
              </p:cNvPr>
              <p:cNvCxnSpPr/>
              <p:nvPr/>
            </p:nvCxnSpPr>
            <p:spPr>
              <a:xfrm>
                <a:off x="5502385" y="7268541"/>
                <a:ext cx="15871715" cy="0"/>
              </a:xfrm>
              <a:prstGeom prst="line">
                <a:avLst/>
              </a:prstGeom>
              <a:ln w="155575">
                <a:gradFill>
                  <a:gsLst>
                    <a:gs pos="0">
                      <a:schemeClr val="accent1">
                        <a:alpha val="0"/>
                      </a:schemeClr>
                    </a:gs>
                    <a:gs pos="50000">
                      <a:srgbClr val="0066FF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89121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3E71255-A36E-DC15-D93C-ED81694E6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 </a:t>
            </a:r>
            <a:r>
              <a:rPr lang="zh-CN" altLang="en-US" dirty="0"/>
              <a:t>所属城市情况分析</a:t>
            </a:r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D295F4B2-E2BD-2709-17B2-9BE9AAA582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470064"/>
              </p:ext>
            </p:extLst>
          </p:nvPr>
        </p:nvGraphicFramePr>
        <p:xfrm>
          <a:off x="802641" y="3617354"/>
          <a:ext cx="10586719" cy="2304000"/>
        </p:xfrm>
        <a:graphic>
          <a:graphicData uri="http://schemas.openxmlformats.org/drawingml/2006/table">
            <a:tbl>
              <a:tblPr/>
              <a:tblGrid>
                <a:gridCol w="814363">
                  <a:extLst>
                    <a:ext uri="{9D8B030D-6E8A-4147-A177-3AD203B41FA5}">
                      <a16:colId xmlns:a16="http://schemas.microsoft.com/office/drawing/2014/main" val="3911696080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3149390048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389385368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3299303255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1612680570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2068878756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3019205767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1376117832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3164908159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1188374341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3090544414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398862054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val="2350439059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城市</a:t>
                      </a:r>
                    </a:p>
                  </a:txBody>
                  <a:tcPr marL="9739" marR="9739" marT="791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区县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城市级别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面积</a:t>
                      </a:r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平方公里）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口</a:t>
                      </a:r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万人）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GDP</a:t>
                      </a:r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总量</a:t>
                      </a:r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亿元）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均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GDP</a:t>
                      </a:r>
                    </a:p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</a:t>
                      </a:r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万元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）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下辖区县</a:t>
                      </a:r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量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709259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XX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区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X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XXX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XX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XX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XX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</a:t>
                      </a: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区</a:t>
                      </a:r>
                      <a:r>
                        <a:rPr kumimoji="0" lang="en-US" altLang="zh-C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</a:t>
                      </a: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市</a:t>
                      </a:r>
                      <a:r>
                        <a:rPr kumimoji="0" lang="en-US" altLang="zh-C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</a:t>
                      </a: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县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418459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altLang="zh-CN" sz="1100" b="1" i="0" u="none" strike="noStrik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2022</a:t>
                      </a:r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年汽车市场容量</a:t>
                      </a:r>
                    </a:p>
                  </a:txBody>
                  <a:tcPr marL="10821" marR="10821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品牌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MG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荣威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上海大众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雪佛兰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起亚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东风本田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长安福特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长安马自达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领克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广汽传祺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比亚迪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9179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55,500</a:t>
                      </a:r>
                    </a:p>
                  </a:txBody>
                  <a:tcPr marL="10821" marR="10821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网点数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3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238028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en-US" altLang="zh-CN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</a:t>
                      </a:r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100" b="1" i="0" u="none" strike="noStrike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能源总量</a:t>
                      </a:r>
                      <a:endParaRPr lang="en-US" altLang="zh-CN" sz="1100" b="1" i="0" u="none" strike="noStrike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723" marR="11723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2</a:t>
                      </a:r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销量 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,067</a:t>
                      </a: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188723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38,000</a:t>
                      </a:r>
                      <a:endParaRPr lang="mr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市占率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.97%</a:t>
                      </a: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9936966"/>
                  </a:ext>
                </a:extLst>
              </a:tr>
            </a:tbl>
          </a:graphicData>
        </a:graphic>
      </p:graphicFrame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DF8006FD-CF21-5060-E642-5CBEAD659047}"/>
              </a:ext>
            </a:extLst>
          </p:cNvPr>
          <p:cNvGraphicFramePr>
            <a:graphicFrameLocks noGrp="1"/>
          </p:cNvGraphicFramePr>
          <p:nvPr/>
        </p:nvGraphicFramePr>
        <p:xfrm>
          <a:off x="802640" y="1608066"/>
          <a:ext cx="10586720" cy="1417112"/>
        </p:xfrm>
        <a:graphic>
          <a:graphicData uri="http://schemas.openxmlformats.org/drawingml/2006/table">
            <a:tbl>
              <a:tblPr/>
              <a:tblGrid>
                <a:gridCol w="10586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711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609543" rtl="0" eaLnBrk="1" fontAlgn="ctr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      当地位处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省的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部，下辖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个县，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个区；常住人口有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万人；支柱产业主要有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、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等。当地的消费水平较高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/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中等偏上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/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中等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/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中等偏下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/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较低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……</a:t>
                      </a:r>
                    </a:p>
                  </a:txBody>
                  <a:tcPr marL="72000" marR="72000" marT="36030" marB="36030" anchor="ctr" horzOverflow="overflow">
                    <a:lnL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文本占位符 1">
            <a:extLst>
              <a:ext uri="{FF2B5EF4-FFF2-40B4-BE49-F238E27FC236}">
                <a16:creationId xmlns:a16="http://schemas.microsoft.com/office/drawing/2014/main" id="{924DF306-115B-67B4-91E5-74E0A4C9AAAE}"/>
              </a:ext>
            </a:extLst>
          </p:cNvPr>
          <p:cNvSpPr txBox="1">
            <a:spLocks/>
          </p:cNvSpPr>
          <p:nvPr/>
        </p:nvSpPr>
        <p:spPr>
          <a:xfrm>
            <a:off x="709823" y="1145823"/>
            <a:ext cx="9239914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1.1 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当地情况分析</a:t>
            </a:r>
            <a:r>
              <a:rPr lang="zh-CN" altLang="en-US" sz="1600" dirty="0">
                <a:solidFill>
                  <a:srgbClr val="0070C0"/>
                </a:solidFill>
                <a:latin typeface="微软雅黑"/>
                <a:ea typeface="微软雅黑"/>
              </a:rPr>
              <a:t>（备注：可从地理、人口、人文、经济、文化等多角度分析） </a:t>
            </a:r>
            <a:endParaRPr lang="zh-CN" altLang="en-US" dirty="0">
              <a:solidFill>
                <a:srgbClr val="0070C0"/>
              </a:solidFill>
              <a:latin typeface="微软雅黑"/>
              <a:ea typeface="微软雅黑"/>
            </a:endParaRPr>
          </a:p>
        </p:txBody>
      </p:sp>
      <p:sp>
        <p:nvSpPr>
          <p:cNvPr id="8" name="文本占位符 1">
            <a:extLst>
              <a:ext uri="{FF2B5EF4-FFF2-40B4-BE49-F238E27FC236}">
                <a16:creationId xmlns:a16="http://schemas.microsoft.com/office/drawing/2014/main" id="{7BE3E308-72AF-1743-777C-8882BA70E37D}"/>
              </a:ext>
            </a:extLst>
          </p:cNvPr>
          <p:cNvSpPr txBox="1">
            <a:spLocks/>
          </p:cNvSpPr>
          <p:nvPr/>
        </p:nvSpPr>
        <p:spPr>
          <a:xfrm>
            <a:off x="709823" y="3128934"/>
            <a:ext cx="9239914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1.2 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当地汽车市场分析</a:t>
            </a:r>
          </a:p>
        </p:txBody>
      </p:sp>
      <p:sp>
        <p:nvSpPr>
          <p:cNvPr id="9" name="TextBox 12">
            <a:extLst>
              <a:ext uri="{FF2B5EF4-FFF2-40B4-BE49-F238E27FC236}">
                <a16:creationId xmlns:a16="http://schemas.microsoft.com/office/drawing/2014/main" id="{541D1F8E-2989-C890-A565-56B0EAE687D9}"/>
              </a:ext>
            </a:extLst>
          </p:cNvPr>
          <p:cNvSpPr txBox="1"/>
          <p:nvPr/>
        </p:nvSpPr>
        <p:spPr>
          <a:xfrm>
            <a:off x="734517" y="6192222"/>
            <a:ext cx="2476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网点数以实地或官网为准</a:t>
            </a:r>
          </a:p>
        </p:txBody>
      </p:sp>
    </p:spTree>
    <p:extLst>
      <p:ext uri="{BB962C8B-B14F-4D97-AF65-F5344CB8AC3E}">
        <p14:creationId xmlns:p14="http://schemas.microsoft.com/office/powerpoint/2010/main" val="2947177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18BC4723-6C82-2800-BD39-05F9F01AF0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2. XX</a:t>
            </a:r>
            <a:r>
              <a:rPr lang="zh-CN" altLang="en-US" dirty="0"/>
              <a:t>市总体汽车市场分布</a:t>
            </a:r>
          </a:p>
        </p:txBody>
      </p:sp>
      <p:graphicFrame>
        <p:nvGraphicFramePr>
          <p:cNvPr id="25" name="表格 24">
            <a:extLst>
              <a:ext uri="{FF2B5EF4-FFF2-40B4-BE49-F238E27FC236}">
                <a16:creationId xmlns:a16="http://schemas.microsoft.com/office/drawing/2014/main" id="{FA4B61A7-7F9F-AC5F-8BE7-5E74469083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101503"/>
              </p:ext>
            </p:extLst>
          </p:nvPr>
        </p:nvGraphicFramePr>
        <p:xfrm>
          <a:off x="8790306" y="1233911"/>
          <a:ext cx="3018870" cy="4872813"/>
        </p:xfrm>
        <a:graphic>
          <a:graphicData uri="http://schemas.openxmlformats.org/drawingml/2006/table">
            <a:tbl>
              <a:tblPr/>
              <a:tblGrid>
                <a:gridCol w="3018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72813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zh-CN" altLang="en-US" sz="1600" b="1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主要汽车商圈及品牌概述：</a:t>
                      </a:r>
                      <a:endParaRPr lang="en-US" altLang="zh-CN" sz="1600" b="1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228600" indent="-228600">
                        <a:lnSpc>
                          <a:spcPct val="125000"/>
                        </a:lnSpc>
                        <a:spcBef>
                          <a:spcPts val="800"/>
                        </a:spcBef>
                        <a:buFontTx/>
                        <a:buAutoNum type="arabicPeriod"/>
                      </a:pP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黔北汽车城：</a:t>
                      </a:r>
                      <a:r>
                        <a:rPr lang="zh-CN" altLang="en-US" sz="1300" dirty="0">
                          <a:latin typeface="微软雅黑"/>
                          <a:cs typeface="微软雅黑"/>
                        </a:rPr>
                        <a:t>宝骏、东风本田、东风悦达起亚、斯巴鲁、奇瑞、</a:t>
                      </a: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长安福特、东风雪铁龙、长安轿车、长安马自达、广汽传祺、一汽大众、上起通用五菱、东风风神、比亚迪、讴歌、东风日产</a:t>
                      </a:r>
                      <a:endParaRPr lang="en-US" altLang="zh-CN" sz="1300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228600" indent="-228600">
                        <a:lnSpc>
                          <a:spcPct val="125000"/>
                        </a:lnSpc>
                        <a:buFontTx/>
                        <a:buAutoNum type="arabicPeriod"/>
                      </a:pP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董公寺汽博中心：</a:t>
                      </a:r>
                      <a:r>
                        <a:rPr lang="en-US" altLang="zh-CN" sz="1300" kern="1200" dirty="0">
                          <a:solidFill>
                            <a:srgbClr val="FF0000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MG</a:t>
                      </a:r>
                      <a:r>
                        <a:rPr lang="zh-CN" altLang="en-US" sz="1300" kern="1200" dirty="0">
                          <a:solidFill>
                            <a:srgbClr val="FF0000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、</a:t>
                      </a:r>
                      <a:r>
                        <a:rPr lang="zh-CN" altLang="en-US" sz="1300" kern="1200" dirty="0">
                          <a:solidFill>
                            <a:srgbClr val="000000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荣威、</a:t>
                      </a: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上海大众、斯柯达、别克、雪佛兰、广州本田、东风悦达起亚、东风日产、广汽丰田</a:t>
                      </a:r>
                      <a:endParaRPr lang="en-US" altLang="zh-CN" sz="1300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228600" indent="-228600">
                        <a:lnSpc>
                          <a:spcPct val="125000"/>
                        </a:lnSpc>
                        <a:buFontTx/>
                        <a:buAutoNum type="arabicPeriod"/>
                      </a:pP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新龙大道汽车市场：一汽奥迪、东风日产、比亚迪、莲花</a:t>
                      </a:r>
                      <a:endParaRPr lang="en-US" altLang="zh-CN" sz="1300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228600" indent="-228600">
                        <a:lnSpc>
                          <a:spcPct val="125000"/>
                        </a:lnSpc>
                        <a:buFontTx/>
                        <a:buAutoNum type="arabicPeriod"/>
                      </a:pP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航天汽车广场及周边：</a:t>
                      </a:r>
                      <a:r>
                        <a:rPr lang="zh-CN" altLang="en-US" sz="1300" dirty="0">
                          <a:latin typeface="微软雅黑"/>
                          <a:cs typeface="微软雅黑"/>
                        </a:rPr>
                        <a:t>斯巴鲁、奇瑞、</a:t>
                      </a: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长安福特、东风雪铁龙、长安轿车、长安马自达</a:t>
                      </a:r>
                      <a:endParaRPr lang="en-US" altLang="zh-CN" sz="1300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</a:txBody>
                  <a:tcPr marL="72000" marR="72000" marT="36030" marB="36030" anchor="ctr" horzOverflow="overflow">
                    <a:lnL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26" name="Picture 2" descr="C:\Users\zegeny\Desktop\Snap9.jpg">
            <a:extLst>
              <a:ext uri="{FF2B5EF4-FFF2-40B4-BE49-F238E27FC236}">
                <a16:creationId xmlns:a16="http://schemas.microsoft.com/office/drawing/2014/main" id="{C7FD1CB9-DFC2-6A77-ECCE-F56A7DF77E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005" y="1266031"/>
            <a:ext cx="8121352" cy="4840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组合 26">
            <a:extLst>
              <a:ext uri="{FF2B5EF4-FFF2-40B4-BE49-F238E27FC236}">
                <a16:creationId xmlns:a16="http://schemas.microsoft.com/office/drawing/2014/main" id="{C406D136-1FA2-71F3-1087-45CAD8485C16}"/>
              </a:ext>
            </a:extLst>
          </p:cNvPr>
          <p:cNvGrpSpPr>
            <a:grpSpLocks/>
          </p:cNvGrpSpPr>
          <p:nvPr/>
        </p:nvGrpSpPr>
        <p:grpSpPr>
          <a:xfrm>
            <a:off x="3432849" y="5322022"/>
            <a:ext cx="664072" cy="664072"/>
            <a:chOff x="981716" y="2418788"/>
            <a:chExt cx="1260000" cy="1260000"/>
          </a:xfrm>
        </p:grpSpPr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2ECA771B-F5A9-BCA7-1652-642AA4E493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716" y="2418788"/>
              <a:ext cx="1260000" cy="1260000"/>
            </a:xfrm>
            <a:prstGeom prst="ellipse">
              <a:avLst/>
            </a:prstGeom>
            <a:solidFill>
              <a:srgbClr val="FF0000">
                <a:alpha val="20000"/>
              </a:srgbClr>
            </a:solidFill>
            <a:ln w="19050" cap="flat" cmpd="sng" algn="ctr">
              <a:solidFill>
                <a:srgbClr val="FF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黑体" panose="02010609060101010101" pitchFamily="49" charset="-122"/>
                <a:cs typeface="+mn-cs"/>
              </a:endParaRPr>
            </a:p>
          </p:txBody>
        </p:sp>
        <p:sp>
          <p:nvSpPr>
            <p:cNvPr id="29" name="文本框 7">
              <a:extLst>
                <a:ext uri="{FF2B5EF4-FFF2-40B4-BE49-F238E27FC236}">
                  <a16:creationId xmlns:a16="http://schemas.microsoft.com/office/drawing/2014/main" id="{9695F598-6271-CC40-8821-379043DA014E}"/>
                </a:ext>
              </a:extLst>
            </p:cNvPr>
            <p:cNvSpPr txBox="1"/>
            <p:nvPr/>
          </p:nvSpPr>
          <p:spPr>
            <a:xfrm>
              <a:off x="1277704" y="2607301"/>
              <a:ext cx="469290" cy="7181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8064A2"/>
                  </a:solidFill>
                  <a:effectLst/>
                  <a:uLnTx/>
                  <a:uFillTx/>
                  <a:latin typeface="Impact" panose="020B0806030902050204" pitchFamily="34" charset="0"/>
                  <a:ea typeface="宋体" pitchFamily="2" charset="-122"/>
                </a:rPr>
                <a:t>1</a:t>
              </a:r>
              <a:endPara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uLnTx/>
                <a:uFillTx/>
                <a:latin typeface="Impact" panose="020B0806030902050204" pitchFamily="34" charset="0"/>
                <a:ea typeface="宋体" pitchFamily="2" charset="-122"/>
              </a:endParaRPr>
            </a:p>
          </p:txBody>
        </p:sp>
      </p:grpSp>
      <p:sp>
        <p:nvSpPr>
          <p:cNvPr id="30" name="圆角矩形 25">
            <a:extLst>
              <a:ext uri="{FF2B5EF4-FFF2-40B4-BE49-F238E27FC236}">
                <a16:creationId xmlns:a16="http://schemas.microsoft.com/office/drawing/2014/main" id="{F270BFA3-CDF4-E83A-791F-A9565663CE15}"/>
              </a:ext>
            </a:extLst>
          </p:cNvPr>
          <p:cNvSpPr/>
          <p:nvPr/>
        </p:nvSpPr>
        <p:spPr>
          <a:xfrm>
            <a:off x="851328" y="5441369"/>
            <a:ext cx="2581521" cy="396000"/>
          </a:xfrm>
          <a:prstGeom prst="roundRect">
            <a:avLst/>
          </a:prstGeom>
          <a:solidFill>
            <a:sysClr val="window" lastClr="FFFFFF">
              <a:alpha val="70000"/>
            </a:sysClr>
          </a:solidFill>
          <a:ln w="9525" cap="flat" cmpd="sng" algn="ctr">
            <a:solidFill>
              <a:srgbClr val="F2F2F2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68580" tIns="34290" rIns="68580" bIns="34290"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1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、黔北汽车城及周边：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35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家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4S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店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微软雅黑"/>
            </a:endParaRP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052669AD-8B6C-366D-2099-99A076A82709}"/>
              </a:ext>
            </a:extLst>
          </p:cNvPr>
          <p:cNvGrpSpPr>
            <a:grpSpLocks/>
          </p:cNvGrpSpPr>
          <p:nvPr/>
        </p:nvGrpSpPr>
        <p:grpSpPr>
          <a:xfrm>
            <a:off x="4399646" y="1233911"/>
            <a:ext cx="664072" cy="664072"/>
            <a:chOff x="981716" y="2418788"/>
            <a:chExt cx="1260000" cy="1260000"/>
          </a:xfrm>
        </p:grpSpPr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E9486043-FD0C-A7F7-0BAF-A31DEB2BAE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716" y="2418788"/>
              <a:ext cx="1260000" cy="1260000"/>
            </a:xfrm>
            <a:prstGeom prst="ellipse">
              <a:avLst/>
            </a:prstGeom>
            <a:solidFill>
              <a:srgbClr val="FF0000">
                <a:alpha val="20000"/>
              </a:srgbClr>
            </a:solidFill>
            <a:ln w="19050" cap="flat" cmpd="sng" algn="ctr">
              <a:solidFill>
                <a:srgbClr val="FF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黑体" panose="02010609060101010101" pitchFamily="49" charset="-122"/>
                <a:cs typeface="+mn-cs"/>
              </a:endParaRPr>
            </a:p>
          </p:txBody>
        </p:sp>
        <p:sp>
          <p:nvSpPr>
            <p:cNvPr id="33" name="文本框 7">
              <a:extLst>
                <a:ext uri="{FF2B5EF4-FFF2-40B4-BE49-F238E27FC236}">
                  <a16:creationId xmlns:a16="http://schemas.microsoft.com/office/drawing/2014/main" id="{38D43EDE-CE87-695A-8197-1CBE8AFB5306}"/>
                </a:ext>
              </a:extLst>
            </p:cNvPr>
            <p:cNvSpPr txBox="1"/>
            <p:nvPr/>
          </p:nvSpPr>
          <p:spPr>
            <a:xfrm>
              <a:off x="1348395" y="2597207"/>
              <a:ext cx="526640" cy="7181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8064A2"/>
                  </a:solidFill>
                  <a:effectLst/>
                  <a:uLnTx/>
                  <a:uFillTx/>
                  <a:latin typeface="Impact" panose="020B0806030902050204" pitchFamily="34" charset="0"/>
                  <a:ea typeface="宋体" pitchFamily="2" charset="-122"/>
                </a:rPr>
                <a:t>2</a:t>
              </a:r>
              <a:endPara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uLnTx/>
                <a:uFillTx/>
                <a:latin typeface="Impact" panose="020B0806030902050204" pitchFamily="34" charset="0"/>
                <a:ea typeface="宋体" pitchFamily="2" charset="-122"/>
              </a:endParaRPr>
            </a:p>
          </p:txBody>
        </p:sp>
      </p:grpSp>
      <p:sp>
        <p:nvSpPr>
          <p:cNvPr id="34" name="圆角矩形 29">
            <a:extLst>
              <a:ext uri="{FF2B5EF4-FFF2-40B4-BE49-F238E27FC236}">
                <a16:creationId xmlns:a16="http://schemas.microsoft.com/office/drawing/2014/main" id="{763ECA50-A532-765F-569B-7F3FAE1FF8AF}"/>
              </a:ext>
            </a:extLst>
          </p:cNvPr>
          <p:cNvSpPr/>
          <p:nvPr/>
        </p:nvSpPr>
        <p:spPr>
          <a:xfrm>
            <a:off x="5063718" y="1379500"/>
            <a:ext cx="2514977" cy="396000"/>
          </a:xfrm>
          <a:prstGeom prst="roundRect">
            <a:avLst/>
          </a:prstGeom>
          <a:solidFill>
            <a:sysClr val="window" lastClr="FFFFFF">
              <a:alpha val="70000"/>
            </a:sysClr>
          </a:solidFill>
          <a:ln w="9525" cap="flat" cmpd="sng" algn="ctr">
            <a:solidFill>
              <a:srgbClr val="F2F2F2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68580" tIns="34290" rIns="68580" bIns="34290"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2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、董公寺汽博中心：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22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家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4S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店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微软雅黑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EE0E0320-5DB8-3F9A-AEA0-81A7C3C55BB5}"/>
              </a:ext>
            </a:extLst>
          </p:cNvPr>
          <p:cNvGrpSpPr>
            <a:grpSpLocks/>
          </p:cNvGrpSpPr>
          <p:nvPr/>
        </p:nvGrpSpPr>
        <p:grpSpPr>
          <a:xfrm>
            <a:off x="7336719" y="3019651"/>
            <a:ext cx="664072" cy="664072"/>
            <a:chOff x="981716" y="2418788"/>
            <a:chExt cx="1260000" cy="1260000"/>
          </a:xfrm>
        </p:grpSpPr>
        <p:sp>
          <p:nvSpPr>
            <p:cNvPr id="36" name="椭圆 35">
              <a:extLst>
                <a:ext uri="{FF2B5EF4-FFF2-40B4-BE49-F238E27FC236}">
                  <a16:creationId xmlns:a16="http://schemas.microsoft.com/office/drawing/2014/main" id="{C56A7845-40BA-CFC7-DD48-FE3A441886C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716" y="2418788"/>
              <a:ext cx="1260000" cy="1260000"/>
            </a:xfrm>
            <a:prstGeom prst="ellipse">
              <a:avLst/>
            </a:prstGeom>
            <a:solidFill>
              <a:srgbClr val="FF0000">
                <a:alpha val="20000"/>
              </a:srgbClr>
            </a:solidFill>
            <a:ln w="19050" cap="flat" cmpd="sng" algn="ctr">
              <a:solidFill>
                <a:srgbClr val="FF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黑体" panose="02010609060101010101" pitchFamily="49" charset="-122"/>
                <a:cs typeface="+mn-cs"/>
              </a:endParaRPr>
            </a:p>
          </p:txBody>
        </p:sp>
        <p:sp>
          <p:nvSpPr>
            <p:cNvPr id="37" name="文本框 7">
              <a:extLst>
                <a:ext uri="{FF2B5EF4-FFF2-40B4-BE49-F238E27FC236}">
                  <a16:creationId xmlns:a16="http://schemas.microsoft.com/office/drawing/2014/main" id="{A24545DE-ABBB-54D9-6299-F3EE47D0865E}"/>
                </a:ext>
              </a:extLst>
            </p:cNvPr>
            <p:cNvSpPr txBox="1"/>
            <p:nvPr/>
          </p:nvSpPr>
          <p:spPr>
            <a:xfrm>
              <a:off x="1302994" y="2640347"/>
              <a:ext cx="541601" cy="7181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8064A2"/>
                  </a:solidFill>
                  <a:effectLst/>
                  <a:uLnTx/>
                  <a:uFillTx/>
                  <a:latin typeface="Impact" panose="020B0806030902050204" pitchFamily="34" charset="0"/>
                  <a:ea typeface="宋体" pitchFamily="2" charset="-122"/>
                </a:rPr>
                <a:t>3</a:t>
              </a:r>
              <a:endPara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uLnTx/>
                <a:uFillTx/>
                <a:latin typeface="Impact" panose="020B0806030902050204" pitchFamily="34" charset="0"/>
                <a:ea typeface="宋体" pitchFamily="2" charset="-122"/>
              </a:endParaRPr>
            </a:p>
          </p:txBody>
        </p:sp>
      </p:grpSp>
      <p:sp>
        <p:nvSpPr>
          <p:cNvPr id="38" name="圆角矩形 33">
            <a:extLst>
              <a:ext uri="{FF2B5EF4-FFF2-40B4-BE49-F238E27FC236}">
                <a16:creationId xmlns:a16="http://schemas.microsoft.com/office/drawing/2014/main" id="{72776022-FA76-BA48-B034-CF646881B6F6}"/>
              </a:ext>
            </a:extLst>
          </p:cNvPr>
          <p:cNvSpPr/>
          <p:nvPr/>
        </p:nvSpPr>
        <p:spPr>
          <a:xfrm>
            <a:off x="5194118" y="3557825"/>
            <a:ext cx="2454651" cy="396000"/>
          </a:xfrm>
          <a:prstGeom prst="roundRect">
            <a:avLst/>
          </a:prstGeom>
          <a:solidFill>
            <a:sysClr val="window" lastClr="FFFFFF">
              <a:alpha val="70000"/>
            </a:sysClr>
          </a:solidFill>
          <a:ln w="9525" cap="flat" cmpd="sng" algn="ctr">
            <a:solidFill>
              <a:srgbClr val="F2F2F2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68580" tIns="34290" rIns="68580" bIns="34290"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3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、新龙大道汽车市场：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6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家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4S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店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微软雅黑"/>
            </a:endParaRP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84111240-1616-630F-580C-A13F4687C6E2}"/>
              </a:ext>
            </a:extLst>
          </p:cNvPr>
          <p:cNvGrpSpPr>
            <a:grpSpLocks/>
          </p:cNvGrpSpPr>
          <p:nvPr/>
        </p:nvGrpSpPr>
        <p:grpSpPr>
          <a:xfrm>
            <a:off x="4993256" y="2783510"/>
            <a:ext cx="664072" cy="664072"/>
            <a:chOff x="981716" y="2418788"/>
            <a:chExt cx="1260000" cy="1260000"/>
          </a:xfrm>
        </p:grpSpPr>
        <p:sp>
          <p:nvSpPr>
            <p:cNvPr id="44" name="椭圆 43">
              <a:extLst>
                <a:ext uri="{FF2B5EF4-FFF2-40B4-BE49-F238E27FC236}">
                  <a16:creationId xmlns:a16="http://schemas.microsoft.com/office/drawing/2014/main" id="{AB7065CD-42CB-C671-C457-91742B8848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716" y="2418788"/>
              <a:ext cx="1260000" cy="1260000"/>
            </a:xfrm>
            <a:prstGeom prst="ellipse">
              <a:avLst/>
            </a:prstGeom>
            <a:solidFill>
              <a:srgbClr val="FF0000">
                <a:alpha val="20000"/>
              </a:srgbClr>
            </a:solidFill>
            <a:ln w="19050" cap="flat" cmpd="sng" algn="ctr">
              <a:solidFill>
                <a:srgbClr val="FF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黑体" panose="02010609060101010101" pitchFamily="49" charset="-122"/>
                <a:cs typeface="+mn-cs"/>
              </a:endParaRPr>
            </a:p>
          </p:txBody>
        </p:sp>
        <p:sp>
          <p:nvSpPr>
            <p:cNvPr id="63" name="文本框 7">
              <a:extLst>
                <a:ext uri="{FF2B5EF4-FFF2-40B4-BE49-F238E27FC236}">
                  <a16:creationId xmlns:a16="http://schemas.microsoft.com/office/drawing/2014/main" id="{584A3F38-435F-31FE-36DF-D34099162871}"/>
                </a:ext>
              </a:extLst>
            </p:cNvPr>
            <p:cNvSpPr txBox="1"/>
            <p:nvPr/>
          </p:nvSpPr>
          <p:spPr>
            <a:xfrm>
              <a:off x="1299283" y="2625998"/>
              <a:ext cx="541601" cy="7181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8064A2"/>
                  </a:solidFill>
                  <a:effectLst/>
                  <a:uLnTx/>
                  <a:uFillTx/>
                  <a:latin typeface="Impact" panose="020B0806030902050204" pitchFamily="34" charset="0"/>
                  <a:ea typeface="宋体" pitchFamily="2" charset="-122"/>
                </a:rPr>
                <a:t>4</a:t>
              </a:r>
              <a:endPara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uLnTx/>
                <a:uFillTx/>
                <a:latin typeface="Impact" panose="020B0806030902050204" pitchFamily="34" charset="0"/>
                <a:ea typeface="宋体" pitchFamily="2" charset="-122"/>
              </a:endParaRPr>
            </a:p>
          </p:txBody>
        </p:sp>
      </p:grpSp>
      <p:sp>
        <p:nvSpPr>
          <p:cNvPr id="64" name="圆角矩形 37">
            <a:extLst>
              <a:ext uri="{FF2B5EF4-FFF2-40B4-BE49-F238E27FC236}">
                <a16:creationId xmlns:a16="http://schemas.microsoft.com/office/drawing/2014/main" id="{E2BE60E1-228C-3F32-1177-EC01BD60C6FF}"/>
              </a:ext>
            </a:extLst>
          </p:cNvPr>
          <p:cNvSpPr/>
          <p:nvPr/>
        </p:nvSpPr>
        <p:spPr>
          <a:xfrm>
            <a:off x="2407256" y="2924004"/>
            <a:ext cx="2576474" cy="396000"/>
          </a:xfrm>
          <a:prstGeom prst="roundRect">
            <a:avLst/>
          </a:prstGeom>
          <a:solidFill>
            <a:sysClr val="window" lastClr="FFFFFF">
              <a:alpha val="70000"/>
            </a:sysClr>
          </a:solidFill>
          <a:ln w="9525" cap="flat" cmpd="sng" algn="ctr">
            <a:solidFill>
              <a:srgbClr val="F2F2F2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68580" tIns="34290" rIns="68580" bIns="34290"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4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、航天汽车广场及周边：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7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家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4S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店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微软雅黑"/>
            </a:endParaRPr>
          </a:p>
        </p:txBody>
      </p:sp>
      <p:sp>
        <p:nvSpPr>
          <p:cNvPr id="74" name="圆角矩形标注 55">
            <a:extLst>
              <a:ext uri="{FF2B5EF4-FFF2-40B4-BE49-F238E27FC236}">
                <a16:creationId xmlns:a16="http://schemas.microsoft.com/office/drawing/2014/main" id="{49D24884-A9EA-2D6E-BBC0-BA147B4EC7DE}"/>
              </a:ext>
            </a:extLst>
          </p:cNvPr>
          <p:cNvSpPr/>
          <p:nvPr/>
        </p:nvSpPr>
        <p:spPr>
          <a:xfrm>
            <a:off x="4579143" y="2198382"/>
            <a:ext cx="969149" cy="315255"/>
          </a:xfrm>
          <a:prstGeom prst="wedgeRoundRectCallout">
            <a:avLst>
              <a:gd name="adj1" fmla="val 28335"/>
              <a:gd name="adj2" fmla="val 191866"/>
              <a:gd name="adj3" fmla="val 16667"/>
            </a:avLst>
          </a:prstGeom>
          <a:gradFill flip="none" rotWithShape="1">
            <a:gsLst>
              <a:gs pos="0">
                <a:srgbClr val="4F81BD">
                  <a:tint val="50000"/>
                  <a:satMod val="300000"/>
                  <a:alpha val="43000"/>
                </a:srgbClr>
              </a:gs>
              <a:gs pos="35000">
                <a:srgbClr val="4F81BD">
                  <a:tint val="37000"/>
                  <a:satMod val="300000"/>
                  <a:alpha val="43000"/>
                </a:srgbClr>
              </a:gs>
              <a:gs pos="100000">
                <a:srgbClr val="4F81BD">
                  <a:tint val="15000"/>
                  <a:satMod val="350000"/>
                  <a:alpha val="43000"/>
                </a:srgbClr>
              </a:gs>
            </a:gsLst>
            <a:lin ang="16200000" scaled="1"/>
            <a:tileRect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请场地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12">
            <a:extLst>
              <a:ext uri="{FF2B5EF4-FFF2-40B4-BE49-F238E27FC236}">
                <a16:creationId xmlns:a16="http://schemas.microsoft.com/office/drawing/2014/main" id="{B4A30D2B-5E5A-EDF5-1CFA-ADDF1B436706}"/>
              </a:ext>
            </a:extLst>
          </p:cNvPr>
          <p:cNvSpPr txBox="1"/>
          <p:nvPr/>
        </p:nvSpPr>
        <p:spPr>
          <a:xfrm>
            <a:off x="398005" y="6173750"/>
            <a:ext cx="28836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请注明各汽车商圈主要汽车品牌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E249018-1AD2-473A-9758-AE120F1F7B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6123" y="1510833"/>
            <a:ext cx="241935" cy="241935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02631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4">
            <a:extLst>
              <a:ext uri="{FF2B5EF4-FFF2-40B4-BE49-F238E27FC236}">
                <a16:creationId xmlns:a16="http://schemas.microsoft.com/office/drawing/2014/main" id="{37FF30A5-22C1-FB3C-2FC1-1781BE188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2988" y="1629037"/>
            <a:ext cx="7378580" cy="46856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图片 26">
            <a:extLst>
              <a:ext uri="{FF2B5EF4-FFF2-40B4-BE49-F238E27FC236}">
                <a16:creationId xmlns:a16="http://schemas.microsoft.com/office/drawing/2014/main" id="{8B27B5F0-C138-41FB-B620-97B7DC6627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5884" y="4734291"/>
            <a:ext cx="241935" cy="241935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AD07E6B1-033A-832A-C0D1-B50E52590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</a:t>
            </a:r>
            <a:r>
              <a:rPr lang="zh-CN" altLang="en-US" dirty="0"/>
              <a:t>申请场地所在位置－</a:t>
            </a:r>
            <a:r>
              <a:rPr lang="en-US" altLang="zh-CN" dirty="0"/>
              <a:t>XX</a:t>
            </a:r>
            <a:r>
              <a:rPr lang="zh-CN" altLang="en-US" dirty="0"/>
              <a:t>汽车城</a:t>
            </a:r>
          </a:p>
        </p:txBody>
      </p:sp>
      <p:pic>
        <p:nvPicPr>
          <p:cNvPr id="29" name="Picture 52" descr="7168e33bjw6deoza68lhdj">
            <a:extLst>
              <a:ext uri="{FF2B5EF4-FFF2-40B4-BE49-F238E27FC236}">
                <a16:creationId xmlns:a16="http://schemas.microsoft.com/office/drawing/2014/main" id="{D5229B98-6602-877F-B073-6F06773952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59075" y="4816674"/>
            <a:ext cx="322792" cy="282775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>
            <a:extLst>
              <a:ext uri="{FF2B5EF4-FFF2-40B4-BE49-F238E27FC236}">
                <a16:creationId xmlns:a16="http://schemas.microsoft.com/office/drawing/2014/main" id="{008DD31A-FCA9-7C40-6EEE-CEBC2C2C8D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03523" y="5284238"/>
            <a:ext cx="270623" cy="15582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14" descr="ford">
            <a:extLst>
              <a:ext uri="{FF2B5EF4-FFF2-40B4-BE49-F238E27FC236}">
                <a16:creationId xmlns:a16="http://schemas.microsoft.com/office/drawing/2014/main" id="{C630EFF0-4D19-65AE-BB0A-C76ADC1429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6F5FB"/>
              </a:clrFrom>
              <a:clrTo>
                <a:srgbClr val="F6F5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9156" y="5200525"/>
            <a:ext cx="292702" cy="206177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3" name="Picture 86" descr="8474fbddbef58bd977c6383f">
            <a:extLst>
              <a:ext uri="{FF2B5EF4-FFF2-40B4-BE49-F238E27FC236}">
                <a16:creationId xmlns:a16="http://schemas.microsoft.com/office/drawing/2014/main" id="{F1DAC457-1D5D-F8BE-9AFA-893C17D9EB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32195" y="4615194"/>
            <a:ext cx="348082" cy="201480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4" name="Picture 77" descr="6a22e824857549208744f90e">
            <a:extLst>
              <a:ext uri="{FF2B5EF4-FFF2-40B4-BE49-F238E27FC236}">
                <a16:creationId xmlns:a16="http://schemas.microsoft.com/office/drawing/2014/main" id="{3389DC22-1C35-6646-73D6-4686935B51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clrChange>
              <a:clrFrom>
                <a:srgbClr val="E6E5E1"/>
              </a:clrFrom>
              <a:clrTo>
                <a:srgbClr val="E6E5E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0192" y="4536824"/>
            <a:ext cx="302003" cy="25660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5" name="Picture 136" descr="一汽奔腾">
            <a:extLst>
              <a:ext uri="{FF2B5EF4-FFF2-40B4-BE49-F238E27FC236}">
                <a16:creationId xmlns:a16="http://schemas.microsoft.com/office/drawing/2014/main" id="{6A08A239-8FFD-5EB3-4999-542449B7F8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15262" y="4524160"/>
            <a:ext cx="193368" cy="140966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6" name="Picture 84" descr="一汽奥迪">
            <a:extLst>
              <a:ext uri="{FF2B5EF4-FFF2-40B4-BE49-F238E27FC236}">
                <a16:creationId xmlns:a16="http://schemas.microsoft.com/office/drawing/2014/main" id="{16ADB9CE-D826-DD4F-5DCF-B75EE36ED6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4369" y="3663821"/>
            <a:ext cx="395153" cy="153569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7" name="图片 36">
            <a:extLst>
              <a:ext uri="{FF2B5EF4-FFF2-40B4-BE49-F238E27FC236}">
                <a16:creationId xmlns:a16="http://schemas.microsoft.com/office/drawing/2014/main" id="{02E3FC01-C2F8-AC80-8673-D993F104D52E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5857" y="4050930"/>
            <a:ext cx="157024" cy="179188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" name="Picture 76" descr="fcbbb151c4d3f19c8c543005">
            <a:extLst>
              <a:ext uri="{FF2B5EF4-FFF2-40B4-BE49-F238E27FC236}">
                <a16:creationId xmlns:a16="http://schemas.microsoft.com/office/drawing/2014/main" id="{443EFB52-7993-1053-AFA6-160567BFB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1809" y="4490084"/>
            <a:ext cx="177741" cy="169213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9" name="Picture 94" descr="948bcfc837e8dc277f3e6fbb">
            <a:hlinkClick r:id="rId13"/>
            <a:extLst>
              <a:ext uri="{FF2B5EF4-FFF2-40B4-BE49-F238E27FC236}">
                <a16:creationId xmlns:a16="http://schemas.microsoft.com/office/drawing/2014/main" id="{9E74DF81-D191-0E54-066F-A36A9412B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0428" y="5274283"/>
            <a:ext cx="256502" cy="132419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40" name="Picture 16" descr="mazda">
            <a:extLst>
              <a:ext uri="{FF2B5EF4-FFF2-40B4-BE49-F238E27FC236}">
                <a16:creationId xmlns:a16="http://schemas.microsoft.com/office/drawing/2014/main" id="{5EE9E1AE-35DF-0D9F-76F9-3147541E34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1809" y="4272854"/>
            <a:ext cx="291030" cy="168493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41" name="Picture 124" descr="507c3897146fec5955fb9693">
            <a:extLst>
              <a:ext uri="{FF2B5EF4-FFF2-40B4-BE49-F238E27FC236}">
                <a16:creationId xmlns:a16="http://schemas.microsoft.com/office/drawing/2014/main" id="{C939D9AC-089A-7DC1-E6CA-12ED0F311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8679" y="3877073"/>
            <a:ext cx="198599" cy="204262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43" name="图片 42">
            <a:extLst>
              <a:ext uri="{FF2B5EF4-FFF2-40B4-BE49-F238E27FC236}">
                <a16:creationId xmlns:a16="http://schemas.microsoft.com/office/drawing/2014/main" id="{ECCD2970-F4EE-8669-149B-569AC1CC7DCD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7365" y="3747940"/>
            <a:ext cx="284830" cy="17792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" name="Picture 134" descr="5af4d7ea099411c0d539c9ca">
            <a:extLst>
              <a:ext uri="{FF2B5EF4-FFF2-40B4-BE49-F238E27FC236}">
                <a16:creationId xmlns:a16="http://schemas.microsoft.com/office/drawing/2014/main" id="{B3C91C22-71C8-685C-0453-7FA93ECDD0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4406" y="3033311"/>
            <a:ext cx="276065" cy="200256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45" name="Picture 78" descr="e6508eef47b9e2fcce1b3eb7">
            <a:extLst>
              <a:ext uri="{FF2B5EF4-FFF2-40B4-BE49-F238E27FC236}">
                <a16:creationId xmlns:a16="http://schemas.microsoft.com/office/drawing/2014/main" id="{8BA7C4AB-EEBF-D8B9-7D14-AE593DCE25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69157" y="2687695"/>
            <a:ext cx="326074" cy="215113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46" name="图片 45">
            <a:extLst>
              <a:ext uri="{FF2B5EF4-FFF2-40B4-BE49-F238E27FC236}">
                <a16:creationId xmlns:a16="http://schemas.microsoft.com/office/drawing/2014/main" id="{854EDEA9-91A3-B464-E8A5-724F49C6B059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1458" y="2946583"/>
            <a:ext cx="304589" cy="234536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" name="Picture 59" descr="6c63514ac0e6033009f7eff3">
            <a:extLst>
              <a:ext uri="{FF2B5EF4-FFF2-40B4-BE49-F238E27FC236}">
                <a16:creationId xmlns:a16="http://schemas.microsoft.com/office/drawing/2014/main" id="{EE524407-08CB-A576-36ED-F5EED33AC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2278" y="2623357"/>
            <a:ext cx="307709" cy="277496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graphicFrame>
        <p:nvGraphicFramePr>
          <p:cNvPr id="49" name="表格 48">
            <a:extLst>
              <a:ext uri="{FF2B5EF4-FFF2-40B4-BE49-F238E27FC236}">
                <a16:creationId xmlns:a16="http://schemas.microsoft.com/office/drawing/2014/main" id="{A7AC0D0A-54A0-C8AF-6B54-420C2301D9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259331"/>
              </p:ext>
            </p:extLst>
          </p:nvPr>
        </p:nvGraphicFramePr>
        <p:xfrm>
          <a:off x="8429411" y="1629036"/>
          <a:ext cx="2771126" cy="4685671"/>
        </p:xfrm>
        <a:graphic>
          <a:graphicData uri="http://schemas.openxmlformats.org/drawingml/2006/table">
            <a:tbl>
              <a:tblPr/>
              <a:tblGrid>
                <a:gridCol w="27711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85671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zh-CN" altLang="en-US" sz="1800" b="1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汽车城概述：</a:t>
                      </a:r>
                      <a:endParaRPr lang="en-US" altLang="zh-CN" sz="1800" b="1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0" indent="0">
                        <a:buFontTx/>
                        <a:buNone/>
                      </a:pPr>
                      <a:endParaRPr lang="en-US" altLang="zh-CN" sz="1800" b="1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342900" marR="0" lvl="0" indent="-342900" algn="l" defTabSz="609543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汽车城特点：</a:t>
                      </a:r>
                      <a:r>
                        <a:rPr lang="en-US" altLang="zh-CN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</a:t>
                      </a:r>
                    </a:p>
                    <a:p>
                      <a:pPr marL="342900" marR="0" lvl="0" indent="-342900" algn="l" defTabSz="609543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大致规模：</a:t>
                      </a:r>
                      <a:r>
                        <a:rPr lang="en-US" altLang="zh-CN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家品牌</a:t>
                      </a:r>
                      <a:r>
                        <a:rPr lang="en-US" altLang="zh-CN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4S</a:t>
                      </a: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店</a:t>
                      </a:r>
                      <a:endParaRPr lang="en-US" altLang="zh-CN" sz="1300" kern="1200" dirty="0">
                        <a:solidFill>
                          <a:schemeClr val="tx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  <a:p>
                      <a:pPr marL="342900" marR="0" lvl="0" indent="-342900" algn="l" defTabSz="609543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新车销量占比：</a:t>
                      </a:r>
                      <a:r>
                        <a:rPr lang="en-US" altLang="zh-CN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%</a:t>
                      </a:r>
                    </a:p>
                    <a:p>
                      <a:pPr marL="342900" marR="0" lvl="0" indent="-342900" algn="l" defTabSz="609543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其它：</a:t>
                      </a:r>
                      <a:r>
                        <a:rPr lang="en-US" altLang="zh-CN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</a:t>
                      </a: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（场地位置情况及周边配套等）</a:t>
                      </a:r>
                      <a:endParaRPr lang="en-US" altLang="zh-CN" sz="1300" kern="1200" dirty="0">
                        <a:solidFill>
                          <a:schemeClr val="tx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72000" marR="72000" marT="36030" marB="36030" anchor="ctr" horzOverflow="overflow">
                    <a:lnL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0" name="文本占位符 1">
            <a:extLst>
              <a:ext uri="{FF2B5EF4-FFF2-40B4-BE49-F238E27FC236}">
                <a16:creationId xmlns:a16="http://schemas.microsoft.com/office/drawing/2014/main" id="{2942A653-B703-A46F-D905-F74C674D4414}"/>
              </a:ext>
            </a:extLst>
          </p:cNvPr>
          <p:cNvSpPr txBox="1">
            <a:spLocks/>
          </p:cNvSpPr>
          <p:nvPr/>
        </p:nvSpPr>
        <p:spPr>
          <a:xfrm>
            <a:off x="875509" y="1081041"/>
            <a:ext cx="8776491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Times New Roman"/>
                <a:ea typeface="微软雅黑"/>
              </a:rPr>
              <a:t>3.1 </a:t>
            </a:r>
            <a:r>
              <a:rPr lang="zh-CN" altLang="en-US" dirty="0">
                <a:solidFill>
                  <a:srgbClr val="0070C0"/>
                </a:solidFill>
                <a:latin typeface="Times New Roman"/>
                <a:ea typeface="微软雅黑"/>
              </a:rPr>
              <a:t>场地所在位置（标注拟建展厅、售后车间位置，及周边汽车品牌</a:t>
            </a:r>
            <a:r>
              <a:rPr lang="en-US" altLang="zh-CN" dirty="0">
                <a:solidFill>
                  <a:srgbClr val="0070C0"/>
                </a:solidFill>
                <a:latin typeface="Times New Roman"/>
                <a:ea typeface="微软雅黑"/>
              </a:rPr>
              <a:t>Logo</a:t>
            </a:r>
            <a:r>
              <a:rPr lang="zh-CN" altLang="en-US" dirty="0">
                <a:solidFill>
                  <a:srgbClr val="0070C0"/>
                </a:solidFill>
                <a:latin typeface="Times New Roman"/>
                <a:ea typeface="微软雅黑"/>
              </a:rPr>
              <a:t>）</a:t>
            </a:r>
          </a:p>
        </p:txBody>
      </p:sp>
      <p:sp>
        <p:nvSpPr>
          <p:cNvPr id="51" name="箭头: 下 50">
            <a:extLst>
              <a:ext uri="{FF2B5EF4-FFF2-40B4-BE49-F238E27FC236}">
                <a16:creationId xmlns:a16="http://schemas.microsoft.com/office/drawing/2014/main" id="{0D43F2EA-7015-39EC-E5F0-6358C33A8A7C}"/>
              </a:ext>
            </a:extLst>
          </p:cNvPr>
          <p:cNvSpPr/>
          <p:nvPr/>
        </p:nvSpPr>
        <p:spPr>
          <a:xfrm rot="953744">
            <a:off x="4375610" y="4936279"/>
            <a:ext cx="174297" cy="163011"/>
          </a:xfrm>
          <a:prstGeom prst="downArrow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圆角矩形标注 55">
            <a:extLst>
              <a:ext uri="{FF2B5EF4-FFF2-40B4-BE49-F238E27FC236}">
                <a16:creationId xmlns:a16="http://schemas.microsoft.com/office/drawing/2014/main" id="{6ABF08B3-1A4D-DE5B-9F35-A34965B7610C}"/>
              </a:ext>
            </a:extLst>
          </p:cNvPr>
          <p:cNvSpPr/>
          <p:nvPr/>
        </p:nvSpPr>
        <p:spPr>
          <a:xfrm>
            <a:off x="4477272" y="4174829"/>
            <a:ext cx="876635" cy="315255"/>
          </a:xfrm>
          <a:prstGeom prst="wedgeRoundRectCallout">
            <a:avLst>
              <a:gd name="adj1" fmla="val -38628"/>
              <a:gd name="adj2" fmla="val 142718"/>
              <a:gd name="adj3" fmla="val 16667"/>
            </a:avLst>
          </a:prstGeom>
          <a:gradFill flip="none" rotWithShape="1">
            <a:gsLst>
              <a:gs pos="0">
                <a:srgbClr val="4F81BD">
                  <a:tint val="50000"/>
                  <a:satMod val="300000"/>
                  <a:alpha val="43000"/>
                </a:srgbClr>
              </a:gs>
              <a:gs pos="35000">
                <a:srgbClr val="4F81BD">
                  <a:tint val="37000"/>
                  <a:satMod val="300000"/>
                  <a:alpha val="43000"/>
                </a:srgbClr>
              </a:gs>
              <a:gs pos="100000">
                <a:srgbClr val="4F81BD">
                  <a:tint val="15000"/>
                  <a:satMod val="350000"/>
                  <a:alpha val="43000"/>
                </a:srgbClr>
              </a:gs>
            </a:gsLst>
            <a:lin ang="16200000" scaled="1"/>
            <a:tileRect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请场地</a:t>
            </a:r>
          </a:p>
        </p:txBody>
      </p:sp>
    </p:spTree>
    <p:extLst>
      <p:ext uri="{BB962C8B-B14F-4D97-AF65-F5344CB8AC3E}">
        <p14:creationId xmlns:p14="http://schemas.microsoft.com/office/powerpoint/2010/main" val="732179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903492"/>
              </p:ext>
            </p:extLst>
          </p:nvPr>
        </p:nvGraphicFramePr>
        <p:xfrm>
          <a:off x="1064232" y="1203232"/>
          <a:ext cx="10063535" cy="4791159"/>
        </p:xfrm>
        <a:graphic>
          <a:graphicData uri="http://schemas.openxmlformats.org/drawingml/2006/table">
            <a:tbl>
              <a:tblPr/>
              <a:tblGrid>
                <a:gridCol w="16994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5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66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08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15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082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32351">
                <a:tc rowSpan="8">
                  <a:txBody>
                    <a:bodyPr/>
                    <a:lstStyle/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拟建公司</a:t>
                      </a:r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场地情况</a:t>
                      </a:r>
                    </a:p>
                  </a:txBody>
                  <a:tcPr marL="14428" marR="14428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场地详细地址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7790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市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区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XXXXXX</a:t>
                      </a:r>
                      <a:r>
                        <a:rPr lang="zh-CN" alt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（请填写具体详细地址）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4"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改建展厅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面积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平方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车间面积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平方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面宽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车间面宽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进深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车间进深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auto"/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29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门头高度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内部层高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922026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29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车间位置关系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  <a:sym typeface="Wingdings 2" panose="05020102010507070707" pitchFamily="18" charset="2"/>
                        </a:rPr>
                        <a:t>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前店后场          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  <a:sym typeface="Wingdings 2" panose="05020102010507070707" pitchFamily="18" charset="2"/>
                        </a:rPr>
                        <a:t>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两者分离，相距 </a:t>
                      </a:r>
                      <a:r>
                        <a:rPr lang="zh-CN" altLang="en-US" sz="1400" b="0" i="0" u="sng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         </a:t>
                      </a:r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km</a:t>
                      </a:r>
                      <a:endParaRPr lang="zh-CN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auto"/>
                      <a:endParaRPr lang="zh-CN" alt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7503388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场地情况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土地性质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  <a:sym typeface="Wingdings 2" panose="05020102010507070707" pitchFamily="18" charset="2"/>
                        </a:rPr>
                        <a:t>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自有      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  <a:sym typeface="Wingdings 2" panose="05020102010507070707" pitchFamily="18" charset="2"/>
                        </a:rPr>
                        <a:t>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租赁</a:t>
                      </a: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2908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租赁起止时间</a:t>
                      </a: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202X.XX-202X.XX</a:t>
                      </a:r>
                      <a:endParaRPr kumimoji="0" lang="zh-CN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pPr algn="ctr" fontAlgn="auto"/>
                      <a:endParaRPr lang="zh-TW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场地准备情况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032908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zh-CN" alt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214109"/>
                  </a:ext>
                </a:extLst>
              </a:tr>
              <a:tr h="532351"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备注：</a:t>
                      </a:r>
                    </a:p>
                  </a:txBody>
                  <a:tcPr marL="14428" marR="14428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F6F5F3B3-600F-F82B-2928-3EB397999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 </a:t>
            </a:r>
            <a:r>
              <a:rPr lang="zh-CN" altLang="en-US" dirty="0"/>
              <a:t>拟建新公司情况介绍</a:t>
            </a:r>
          </a:p>
        </p:txBody>
      </p:sp>
    </p:spTree>
    <p:extLst>
      <p:ext uri="{BB962C8B-B14F-4D97-AF65-F5344CB8AC3E}">
        <p14:creationId xmlns:p14="http://schemas.microsoft.com/office/powerpoint/2010/main" val="2034514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68" b="33058"/>
          <a:stretch/>
        </p:blipFill>
        <p:spPr>
          <a:xfrm>
            <a:off x="2048909" y="1037247"/>
            <a:ext cx="8725107" cy="2544234"/>
          </a:xfrm>
          <a:prstGeom prst="rect">
            <a:avLst/>
          </a:prstGeom>
        </p:spPr>
      </p:pic>
      <p:sp>
        <p:nvSpPr>
          <p:cNvPr id="775175" name="Rectangle 7"/>
          <p:cNvSpPr>
            <a:spLocks noChangeArrowheads="1"/>
          </p:cNvSpPr>
          <p:nvPr/>
        </p:nvSpPr>
        <p:spPr bwMode="auto">
          <a:xfrm>
            <a:off x="1" y="-2231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2400" dirty="0">
              <a:solidFill>
                <a:prstClr val="black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" name="矩形 44"/>
          <p:cNvSpPr/>
          <p:nvPr/>
        </p:nvSpPr>
        <p:spPr>
          <a:xfrm>
            <a:off x="523382" y="993154"/>
            <a:ext cx="11108378" cy="2654703"/>
          </a:xfrm>
          <a:prstGeom prst="rect">
            <a:avLst/>
          </a:prstGeom>
          <a:noFill/>
          <a:ln w="6350" cap="flat" cmpd="sng">
            <a:solidFill>
              <a:srgbClr val="B7B7B7"/>
            </a:solidFill>
            <a:prstDash val="sysDot"/>
            <a:round/>
            <a:headEnd type="none" w="med" len="med"/>
            <a:tailEnd type="none" w="med" len="med"/>
          </a:ln>
        </p:spPr>
        <p:txBody>
          <a:bodyPr lIns="96762" tIns="48381" rIns="96762" bIns="48381" anchor="t" anchorCtr="0"/>
          <a:lstStyle/>
          <a:p>
            <a:pPr eaLnBrk="0" hangingPunct="0"/>
            <a:endParaRPr lang="zh-CN" altLang="en-US" i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1293A2C3-76A8-CF7C-ED25-7A8FE0082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</a:t>
            </a:r>
            <a:r>
              <a:rPr lang="zh-CN" altLang="en-US" dirty="0"/>
              <a:t> 申请场地介绍－全景图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E04465FB-509A-7811-9A3A-F28BCFB0F1CF}"/>
              </a:ext>
            </a:extLst>
          </p:cNvPr>
          <p:cNvGrpSpPr/>
          <p:nvPr/>
        </p:nvGrpSpPr>
        <p:grpSpPr>
          <a:xfrm>
            <a:off x="1126314" y="1242518"/>
            <a:ext cx="460437" cy="2209786"/>
            <a:chOff x="593700" y="1211136"/>
            <a:chExt cx="460437" cy="2209786"/>
          </a:xfrm>
        </p:grpSpPr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EEDCBB0F-45AF-8D0D-3149-982BF818C732}"/>
                </a:ext>
              </a:extLst>
            </p:cNvPr>
            <p:cNvSpPr/>
            <p:nvPr/>
          </p:nvSpPr>
          <p:spPr>
            <a:xfrm>
              <a:off x="593700" y="1211136"/>
              <a:ext cx="460437" cy="220978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id="{0BCA8BE7-54F9-663E-241A-FD38BB91A197}"/>
                </a:ext>
              </a:extLst>
            </p:cNvPr>
            <p:cNvSpPr txBox="1"/>
            <p:nvPr/>
          </p:nvSpPr>
          <p:spPr>
            <a:xfrm>
              <a:off x="637113" y="1345641"/>
              <a:ext cx="369651" cy="1962076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eaLnBrk="0" hangingPunct="0">
                <a:lnSpc>
                  <a:spcPct val="90000"/>
                </a:lnSpc>
              </a:pPr>
              <a:r>
                <a:rPr lang="zh-CN" altLang="en-US" sz="15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申请场地正面全景图</a:t>
              </a:r>
            </a:p>
          </p:txBody>
        </p:sp>
      </p:grpSp>
      <p:sp>
        <p:nvSpPr>
          <p:cNvPr id="16" name="矩形 44">
            <a:extLst>
              <a:ext uri="{FF2B5EF4-FFF2-40B4-BE49-F238E27FC236}">
                <a16:creationId xmlns:a16="http://schemas.microsoft.com/office/drawing/2014/main" id="{85EB25BF-1C80-260B-587A-AAF23FB58A3A}"/>
              </a:ext>
            </a:extLst>
          </p:cNvPr>
          <p:cNvSpPr/>
          <p:nvPr/>
        </p:nvSpPr>
        <p:spPr>
          <a:xfrm>
            <a:off x="523382" y="3731905"/>
            <a:ext cx="11108378" cy="2682363"/>
          </a:xfrm>
          <a:prstGeom prst="rect">
            <a:avLst/>
          </a:prstGeom>
          <a:noFill/>
          <a:ln w="6350" cap="flat" cmpd="sng">
            <a:solidFill>
              <a:srgbClr val="B7B7B7"/>
            </a:solidFill>
            <a:prstDash val="sysDot"/>
            <a:round/>
            <a:headEnd type="none" w="med" len="med"/>
            <a:tailEnd type="none" w="med" len="med"/>
          </a:ln>
        </p:spPr>
        <p:txBody>
          <a:bodyPr lIns="96762" tIns="48381" rIns="96762" bIns="48381" anchor="t" anchorCtr="0"/>
          <a:lstStyle/>
          <a:p>
            <a:pPr eaLnBrk="0" hangingPunct="0"/>
            <a:endParaRPr lang="zh-CN" altLang="en-US" i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AD15F19E-7592-B045-E25A-B57187DFF2D8}"/>
              </a:ext>
            </a:extLst>
          </p:cNvPr>
          <p:cNvGrpSpPr/>
          <p:nvPr/>
        </p:nvGrpSpPr>
        <p:grpSpPr>
          <a:xfrm>
            <a:off x="1126314" y="3989937"/>
            <a:ext cx="460437" cy="2209786"/>
            <a:chOff x="593700" y="1211136"/>
            <a:chExt cx="460437" cy="2209786"/>
          </a:xfrm>
        </p:grpSpPr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0289806F-843A-9481-0809-4EC48CAE8F2F}"/>
                </a:ext>
              </a:extLst>
            </p:cNvPr>
            <p:cNvSpPr/>
            <p:nvPr/>
          </p:nvSpPr>
          <p:spPr>
            <a:xfrm>
              <a:off x="593700" y="1211136"/>
              <a:ext cx="460437" cy="220978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A1740D78-1F7A-E566-D7BB-DF3F6D068F61}"/>
                </a:ext>
              </a:extLst>
            </p:cNvPr>
            <p:cNvSpPr txBox="1"/>
            <p:nvPr/>
          </p:nvSpPr>
          <p:spPr>
            <a:xfrm>
              <a:off x="637113" y="1345151"/>
              <a:ext cx="369651" cy="1962076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eaLnBrk="0" hangingPunct="0">
                <a:lnSpc>
                  <a:spcPct val="90000"/>
                </a:lnSpc>
              </a:pPr>
              <a:r>
                <a:rPr lang="zh-CN" altLang="en-US" sz="15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申请场地对面全景图</a:t>
              </a:r>
            </a:p>
          </p:txBody>
        </p:sp>
      </p:grpSp>
      <p:sp>
        <p:nvSpPr>
          <p:cNvPr id="27" name="文本框 2"/>
          <p:cNvSpPr txBox="1"/>
          <p:nvPr/>
        </p:nvSpPr>
        <p:spPr>
          <a:xfrm>
            <a:off x="5828655" y="1341736"/>
            <a:ext cx="6921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m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8" name="直线箭头连接符 19"/>
          <p:cNvCxnSpPr/>
          <p:nvPr/>
        </p:nvCxnSpPr>
        <p:spPr>
          <a:xfrm>
            <a:off x="4755290" y="1761103"/>
            <a:ext cx="3116338" cy="19107"/>
          </a:xfrm>
          <a:prstGeom prst="straightConnector1">
            <a:avLst/>
          </a:prstGeom>
          <a:ln w="38100" cmpd="sng"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文本框 14"/>
          <p:cNvSpPr txBox="1"/>
          <p:nvPr/>
        </p:nvSpPr>
        <p:spPr>
          <a:xfrm>
            <a:off x="4229089" y="2203377"/>
            <a:ext cx="55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m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4912783" y="1819931"/>
            <a:ext cx="2997357" cy="103069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prstClr val="white"/>
              </a:solidFill>
            </a:endParaRPr>
          </a:p>
        </p:txBody>
      </p:sp>
      <p:cxnSp>
        <p:nvCxnSpPr>
          <p:cNvPr id="31" name="直线箭头连接符 19">
            <a:extLst>
              <a:ext uri="{FF2B5EF4-FFF2-40B4-BE49-F238E27FC236}">
                <a16:creationId xmlns:a16="http://schemas.microsoft.com/office/drawing/2014/main" id="{44DEBC2C-D098-E24C-B561-6B3CEC6BD5A1}"/>
              </a:ext>
            </a:extLst>
          </p:cNvPr>
          <p:cNvCxnSpPr>
            <a:cxnSpLocks/>
          </p:cNvCxnSpPr>
          <p:nvPr/>
        </p:nvCxnSpPr>
        <p:spPr>
          <a:xfrm>
            <a:off x="4755290" y="1813045"/>
            <a:ext cx="0" cy="1119218"/>
          </a:xfrm>
          <a:prstGeom prst="straightConnector1">
            <a:avLst/>
          </a:prstGeom>
          <a:ln w="38100" cmpd="sng"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87" b="19210"/>
          <a:stretch/>
        </p:blipFill>
        <p:spPr>
          <a:xfrm>
            <a:off x="2048910" y="3756483"/>
            <a:ext cx="8725107" cy="2633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664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6"/>
          <a:stretch/>
        </p:blipFill>
        <p:spPr>
          <a:xfrm>
            <a:off x="2023199" y="1076071"/>
            <a:ext cx="7224091" cy="4768109"/>
          </a:xfrm>
          <a:prstGeom prst="rect">
            <a:avLst/>
          </a:prstGeom>
        </p:spPr>
      </p:pic>
      <p:sp>
        <p:nvSpPr>
          <p:cNvPr id="3" name="标题 2">
            <a:extLst>
              <a:ext uri="{FF2B5EF4-FFF2-40B4-BE49-F238E27FC236}">
                <a16:creationId xmlns:a16="http://schemas.microsoft.com/office/drawing/2014/main" id="{3BAEC7EF-70E7-068A-D29F-C840D92FF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6. </a:t>
            </a:r>
            <a:r>
              <a:rPr lang="zh-CN" altLang="en-US" dirty="0"/>
              <a:t>申请场地介绍－正面全照</a:t>
            </a:r>
          </a:p>
        </p:txBody>
      </p:sp>
      <p:cxnSp>
        <p:nvCxnSpPr>
          <p:cNvPr id="10" name="直线箭头连接符 19"/>
          <p:cNvCxnSpPr>
            <a:cxnSpLocks/>
          </p:cNvCxnSpPr>
          <p:nvPr/>
        </p:nvCxnSpPr>
        <p:spPr>
          <a:xfrm>
            <a:off x="3299791" y="2315817"/>
            <a:ext cx="5367131" cy="164680"/>
          </a:xfrm>
          <a:prstGeom prst="straightConnector1">
            <a:avLst/>
          </a:prstGeom>
          <a:ln w="38100" cmpd="sng"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直线箭头连接符 19"/>
          <p:cNvCxnSpPr>
            <a:cxnSpLocks/>
          </p:cNvCxnSpPr>
          <p:nvPr/>
        </p:nvCxnSpPr>
        <p:spPr>
          <a:xfrm flipH="1">
            <a:off x="3061469" y="2440847"/>
            <a:ext cx="93040" cy="2220605"/>
          </a:xfrm>
          <a:prstGeom prst="straightConnector1">
            <a:avLst/>
          </a:prstGeom>
          <a:ln w="38100" cmpd="sng"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文本框 2"/>
          <p:cNvSpPr txBox="1"/>
          <p:nvPr/>
        </p:nvSpPr>
        <p:spPr>
          <a:xfrm>
            <a:off x="5908231" y="1810630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m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2"/>
          <p:cNvSpPr txBox="1"/>
          <p:nvPr/>
        </p:nvSpPr>
        <p:spPr>
          <a:xfrm>
            <a:off x="2594707" y="3121571"/>
            <a:ext cx="5132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en-US" altLang="zh-CN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79357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27" b="11078"/>
          <a:stretch/>
        </p:blipFill>
        <p:spPr>
          <a:xfrm>
            <a:off x="1132993" y="4234069"/>
            <a:ext cx="4606579" cy="2502735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652E99B2-4504-10AF-7A3D-23313E898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7. </a:t>
            </a:r>
            <a:r>
              <a:rPr lang="zh-CN" altLang="en-US" dirty="0"/>
              <a:t>申请场地介绍－展厅情况</a:t>
            </a:r>
          </a:p>
        </p:txBody>
      </p:sp>
      <p:grpSp>
        <p:nvGrpSpPr>
          <p:cNvPr id="3" name="组 6">
            <a:extLst>
              <a:ext uri="{FF2B5EF4-FFF2-40B4-BE49-F238E27FC236}">
                <a16:creationId xmlns:a16="http://schemas.microsoft.com/office/drawing/2014/main" id="{F587D145-BD2E-FAA8-C3BE-E3101E7A4DF1}"/>
              </a:ext>
            </a:extLst>
          </p:cNvPr>
          <p:cNvGrpSpPr/>
          <p:nvPr/>
        </p:nvGrpSpPr>
        <p:grpSpPr>
          <a:xfrm>
            <a:off x="1147761" y="693777"/>
            <a:ext cx="6901826" cy="412422"/>
            <a:chOff x="816961" y="736689"/>
            <a:chExt cx="5607732" cy="433799"/>
          </a:xfrm>
        </p:grpSpPr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0508880D-4272-AB5D-AE76-43F73F2310E9}"/>
                </a:ext>
              </a:extLst>
            </p:cNvPr>
            <p:cNvSpPr txBox="1"/>
            <p:nvPr/>
          </p:nvSpPr>
          <p:spPr>
            <a:xfrm>
              <a:off x="816961" y="736689"/>
              <a:ext cx="2376503" cy="4337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展厅外部左侧</a:t>
              </a:r>
              <a:r>
                <a:rPr kumimoji="1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45</a:t>
              </a: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°</a:t>
              </a: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8DEACEBD-FE60-DF43-06A1-D5E1E0B8FF20}"/>
                </a:ext>
              </a:extLst>
            </p:cNvPr>
            <p:cNvSpPr txBox="1"/>
            <p:nvPr/>
          </p:nvSpPr>
          <p:spPr>
            <a:xfrm>
              <a:off x="5011285" y="736689"/>
              <a:ext cx="1413408" cy="4337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展厅外部右侧</a:t>
              </a:r>
              <a:r>
                <a:rPr kumimoji="1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45</a:t>
              </a: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°</a:t>
              </a:r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A9E76308-FA9A-3C3B-9F61-CCDCC89E1071}"/>
              </a:ext>
            </a:extLst>
          </p:cNvPr>
          <p:cNvSpPr txBox="1"/>
          <p:nvPr/>
        </p:nvSpPr>
        <p:spPr>
          <a:xfrm>
            <a:off x="1147761" y="3620639"/>
            <a:ext cx="2924928" cy="381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展厅内部对外</a:t>
            </a:r>
            <a:r>
              <a:rPr kumimoji="1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5</a:t>
            </a: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°</a:t>
            </a:r>
          </a:p>
        </p:txBody>
      </p:sp>
      <p:sp>
        <p:nvSpPr>
          <p:cNvPr id="7" name="文本框 11">
            <a:extLst>
              <a:ext uri="{FF2B5EF4-FFF2-40B4-BE49-F238E27FC236}">
                <a16:creationId xmlns:a16="http://schemas.microsoft.com/office/drawing/2014/main" id="{E5BA05CE-B1AA-0326-F0C2-95D0F7F19D3E}"/>
              </a:ext>
            </a:extLst>
          </p:cNvPr>
          <p:cNvSpPr txBox="1"/>
          <p:nvPr/>
        </p:nvSpPr>
        <p:spPr>
          <a:xfrm>
            <a:off x="6310007" y="3607534"/>
            <a:ext cx="1739579" cy="3812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展厅内部对内</a:t>
            </a:r>
            <a:r>
              <a:rPr kumimoji="1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5</a:t>
            </a: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°</a:t>
            </a:r>
          </a:p>
        </p:txBody>
      </p:sp>
      <p:sp>
        <p:nvSpPr>
          <p:cNvPr id="14" name="文本框 14"/>
          <p:cNvSpPr txBox="1"/>
          <p:nvPr/>
        </p:nvSpPr>
        <p:spPr>
          <a:xfrm>
            <a:off x="3487762" y="5120705"/>
            <a:ext cx="6992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5m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5" name="直线箭头连接符 19">
            <a:extLst>
              <a:ext uri="{FF2B5EF4-FFF2-40B4-BE49-F238E27FC236}">
                <a16:creationId xmlns:a16="http://schemas.microsoft.com/office/drawing/2014/main" id="{44DEBC2C-D098-E24C-B561-6B3CEC6BD5A1}"/>
              </a:ext>
            </a:extLst>
          </p:cNvPr>
          <p:cNvCxnSpPr>
            <a:cxnSpLocks/>
          </p:cNvCxnSpPr>
          <p:nvPr/>
        </p:nvCxnSpPr>
        <p:spPr>
          <a:xfrm>
            <a:off x="4161793" y="4345606"/>
            <a:ext cx="0" cy="1849119"/>
          </a:xfrm>
          <a:prstGeom prst="straightConnector1">
            <a:avLst/>
          </a:prstGeom>
          <a:ln w="38100" cmpd="sng"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4" b="16727"/>
          <a:stretch/>
        </p:blipFill>
        <p:spPr>
          <a:xfrm>
            <a:off x="1147761" y="1144555"/>
            <a:ext cx="4591811" cy="2503106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21" b="18586"/>
          <a:stretch/>
        </p:blipFill>
        <p:spPr>
          <a:xfrm>
            <a:off x="6310007" y="1144555"/>
            <a:ext cx="4503767" cy="248222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91" t="-7121" r="791" b="28089"/>
          <a:stretch/>
        </p:blipFill>
        <p:spPr>
          <a:xfrm>
            <a:off x="6230493" y="4047458"/>
            <a:ext cx="4573341" cy="2689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49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4ECBA24-9CF3-866B-88A0-573F3A376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8. </a:t>
            </a:r>
            <a:r>
              <a:rPr lang="zh-CN" altLang="en-US" dirty="0"/>
              <a:t>申请场地介绍－售后情况</a:t>
            </a:r>
          </a:p>
        </p:txBody>
      </p:sp>
      <p:grpSp>
        <p:nvGrpSpPr>
          <p:cNvPr id="3" name="组 6">
            <a:extLst>
              <a:ext uri="{FF2B5EF4-FFF2-40B4-BE49-F238E27FC236}">
                <a16:creationId xmlns:a16="http://schemas.microsoft.com/office/drawing/2014/main" id="{DE669305-9806-27A4-1310-957CBB8B064B}"/>
              </a:ext>
            </a:extLst>
          </p:cNvPr>
          <p:cNvGrpSpPr/>
          <p:nvPr/>
        </p:nvGrpSpPr>
        <p:grpSpPr>
          <a:xfrm>
            <a:off x="1147761" y="693776"/>
            <a:ext cx="5962466" cy="381258"/>
            <a:chOff x="816961" y="736689"/>
            <a:chExt cx="4844502" cy="401020"/>
          </a:xfrm>
        </p:grpSpPr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CC6A1479-DC9A-3C0A-1B33-37426B535DAA}"/>
                </a:ext>
              </a:extLst>
            </p:cNvPr>
            <p:cNvSpPr txBox="1"/>
            <p:nvPr/>
          </p:nvSpPr>
          <p:spPr>
            <a:xfrm>
              <a:off x="816961" y="736689"/>
              <a:ext cx="2376503" cy="401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维修接待</a:t>
              </a: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12D59C61-04A4-2C3B-1045-5EDD3177B192}"/>
                </a:ext>
              </a:extLst>
            </p:cNvPr>
            <p:cNvSpPr txBox="1"/>
            <p:nvPr/>
          </p:nvSpPr>
          <p:spPr>
            <a:xfrm>
              <a:off x="5011285" y="736689"/>
              <a:ext cx="650178" cy="401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客休区</a:t>
              </a:r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01B311DB-B089-CEE6-8E0B-F06892E64D49}"/>
              </a:ext>
            </a:extLst>
          </p:cNvPr>
          <p:cNvSpPr txBox="1"/>
          <p:nvPr/>
        </p:nvSpPr>
        <p:spPr>
          <a:xfrm>
            <a:off x="1147761" y="3620639"/>
            <a:ext cx="2924928" cy="381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机电车间</a:t>
            </a:r>
          </a:p>
        </p:txBody>
      </p:sp>
      <p:sp>
        <p:nvSpPr>
          <p:cNvPr id="7" name="文本框 11">
            <a:extLst>
              <a:ext uri="{FF2B5EF4-FFF2-40B4-BE49-F238E27FC236}">
                <a16:creationId xmlns:a16="http://schemas.microsoft.com/office/drawing/2014/main" id="{D850D649-53D4-09A6-2BEF-F1576270440D}"/>
              </a:ext>
            </a:extLst>
          </p:cNvPr>
          <p:cNvSpPr txBox="1"/>
          <p:nvPr/>
        </p:nvSpPr>
        <p:spPr>
          <a:xfrm>
            <a:off x="6310007" y="3607534"/>
            <a:ext cx="1005403" cy="3812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钣喷车间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93D4F509-7BBA-34D6-B6AF-DEAC0FE7FEA9}"/>
              </a:ext>
            </a:extLst>
          </p:cNvPr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0008" y="4033060"/>
            <a:ext cx="4680000" cy="2520000"/>
          </a:xfrm>
          <a:prstGeom prst="rect">
            <a:avLst/>
          </a:prstGeom>
        </p:spPr>
      </p:pic>
      <p:sp>
        <p:nvSpPr>
          <p:cNvPr id="12" name="文本框 1">
            <a:extLst>
              <a:ext uri="{FF2B5EF4-FFF2-40B4-BE49-F238E27FC236}">
                <a16:creationId xmlns:a16="http://schemas.microsoft.com/office/drawing/2014/main" id="{9C834752-1527-292F-C2CB-43E3E9BF62D2}"/>
              </a:ext>
            </a:extLst>
          </p:cNvPr>
          <p:cNvSpPr txBox="1"/>
          <p:nvPr/>
        </p:nvSpPr>
        <p:spPr>
          <a:xfrm>
            <a:off x="10232828" y="246900"/>
            <a:ext cx="1652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照片尺寸</a:t>
            </a:r>
            <a:r>
              <a:rPr kumimoji="1" lang="en-US" altLang="zh-CN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7*13</a:t>
            </a:r>
            <a:endParaRPr kumimoji="1" lang="zh-CN" altLang="en-US" sz="1600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0656CDE8-A2CD-520A-F027-19CC03CB7C8C}"/>
              </a:ext>
            </a:extLst>
          </p:cNvPr>
          <p:cNvPicPr preferRelativeResize="0"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0007" y="1059983"/>
            <a:ext cx="4680000" cy="25200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92" y="1035566"/>
            <a:ext cx="4760911" cy="2599742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" t="23189" r="6694" b="5652"/>
          <a:stretch/>
        </p:blipFill>
        <p:spPr>
          <a:xfrm>
            <a:off x="1147761" y="4060229"/>
            <a:ext cx="4746143" cy="2465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344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F9C5D93-B6DB-18EC-D694-4E4ED47E7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9. </a:t>
            </a:r>
            <a:r>
              <a:rPr lang="zh-CN" altLang="en-US" dirty="0"/>
              <a:t>申请场地介绍－周边情况</a:t>
            </a:r>
          </a:p>
        </p:txBody>
      </p:sp>
      <p:grpSp>
        <p:nvGrpSpPr>
          <p:cNvPr id="3" name="组 6">
            <a:extLst>
              <a:ext uri="{FF2B5EF4-FFF2-40B4-BE49-F238E27FC236}">
                <a16:creationId xmlns:a16="http://schemas.microsoft.com/office/drawing/2014/main" id="{11851381-D31C-9CEA-E924-6FEACF8E3889}"/>
              </a:ext>
            </a:extLst>
          </p:cNvPr>
          <p:cNvGrpSpPr/>
          <p:nvPr/>
        </p:nvGrpSpPr>
        <p:grpSpPr>
          <a:xfrm>
            <a:off x="1147761" y="693776"/>
            <a:ext cx="7193571" cy="381258"/>
            <a:chOff x="816961" y="736689"/>
            <a:chExt cx="5844775" cy="401020"/>
          </a:xfrm>
        </p:grpSpPr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44B93D5B-4639-D694-3AEE-D8D6BB325D6D}"/>
                </a:ext>
              </a:extLst>
            </p:cNvPr>
            <p:cNvSpPr txBox="1"/>
            <p:nvPr/>
          </p:nvSpPr>
          <p:spPr>
            <a:xfrm>
              <a:off x="816961" y="736689"/>
              <a:ext cx="2376503" cy="401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周边环境（吉利）</a:t>
              </a: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1AD62761-7CF8-605A-2A19-1266585AF516}"/>
                </a:ext>
              </a:extLst>
            </p:cNvPr>
            <p:cNvSpPr txBox="1"/>
            <p:nvPr/>
          </p:nvSpPr>
          <p:spPr>
            <a:xfrm>
              <a:off x="5011285" y="736689"/>
              <a:ext cx="1650451" cy="401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周边环境（比亚迪）</a:t>
              </a:r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77D47BF4-BE20-2B08-5694-D129E79D62AA}"/>
              </a:ext>
            </a:extLst>
          </p:cNvPr>
          <p:cNvSpPr txBox="1"/>
          <p:nvPr/>
        </p:nvSpPr>
        <p:spPr>
          <a:xfrm>
            <a:off x="1147761" y="3620639"/>
            <a:ext cx="2924928" cy="381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周边环境（</a:t>
            </a: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小鹏、红旗</a:t>
            </a: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</a:p>
        </p:txBody>
      </p:sp>
      <p:sp>
        <p:nvSpPr>
          <p:cNvPr id="7" name="文本框 11">
            <a:extLst>
              <a:ext uri="{FF2B5EF4-FFF2-40B4-BE49-F238E27FC236}">
                <a16:creationId xmlns:a16="http://schemas.microsoft.com/office/drawing/2014/main" id="{BC8B2A14-2A9A-F63A-3060-4F5C74C0D1A9}"/>
              </a:ext>
            </a:extLst>
          </p:cNvPr>
          <p:cNvSpPr txBox="1"/>
          <p:nvPr/>
        </p:nvSpPr>
        <p:spPr>
          <a:xfrm>
            <a:off x="6310007" y="3607534"/>
            <a:ext cx="1826141" cy="3812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周边环境（长安）</a:t>
            </a:r>
          </a:p>
        </p:txBody>
      </p:sp>
      <p:sp>
        <p:nvSpPr>
          <p:cNvPr id="12" name="文本框 1">
            <a:extLst>
              <a:ext uri="{FF2B5EF4-FFF2-40B4-BE49-F238E27FC236}">
                <a16:creationId xmlns:a16="http://schemas.microsoft.com/office/drawing/2014/main" id="{AD265ACD-BC4E-2EEA-0CD4-C08E49958C20}"/>
              </a:ext>
            </a:extLst>
          </p:cNvPr>
          <p:cNvSpPr txBox="1"/>
          <p:nvPr/>
        </p:nvSpPr>
        <p:spPr>
          <a:xfrm>
            <a:off x="10232828" y="246900"/>
            <a:ext cx="1652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照片尺寸</a:t>
            </a:r>
            <a:r>
              <a:rPr kumimoji="1" lang="en-US" altLang="zh-CN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7*13</a:t>
            </a:r>
            <a:endParaRPr kumimoji="1" lang="zh-CN" altLang="en-US" sz="1600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13" name="Picture 2" descr="C:\Users\eprvs\Downloads\839795978.jpg">
            <a:extLst>
              <a:ext uri="{FF2B5EF4-FFF2-40B4-BE49-F238E27FC236}">
                <a16:creationId xmlns:a16="http://schemas.microsoft.com/office/drawing/2014/main" id="{F23AB48A-EBB6-9EBC-5089-405E0446C4E1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350"/>
          <a:stretch/>
        </p:blipFill>
        <p:spPr bwMode="auto">
          <a:xfrm>
            <a:off x="1147762" y="1074057"/>
            <a:ext cx="468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86D0B992-236A-7CCA-F182-69BC2172DFC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0" b="17291"/>
          <a:stretch/>
        </p:blipFill>
        <p:spPr>
          <a:xfrm>
            <a:off x="6310007" y="4051282"/>
            <a:ext cx="4680000" cy="2520000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8DEE735D-3759-EC65-5992-D300502D4C5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7762" y="4051282"/>
            <a:ext cx="4680000" cy="2519995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FA64DF78-783F-274D-A890-069428F3D0A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10007" y="1075034"/>
            <a:ext cx="4680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273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1"/>
          <p:cNvSpPr txBox="1"/>
          <p:nvPr/>
        </p:nvSpPr>
        <p:spPr>
          <a:xfrm>
            <a:off x="8050443" y="246900"/>
            <a:ext cx="38020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备注：含红线标注具体使用范围、尺寸</a:t>
            </a:r>
            <a:endParaRPr kumimoji="1" lang="zh-CN" altLang="en-US" sz="1600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6B3B68A9-2BCD-715A-FC1B-3F945F2406AF}"/>
              </a:ext>
            </a:extLst>
          </p:cNvPr>
          <p:cNvGrpSpPr/>
          <p:nvPr/>
        </p:nvGrpSpPr>
        <p:grpSpPr>
          <a:xfrm>
            <a:off x="3272331" y="836106"/>
            <a:ext cx="5569635" cy="5774994"/>
            <a:chOff x="3172613" y="836106"/>
            <a:chExt cx="5569635" cy="5774994"/>
          </a:xfrm>
        </p:grpSpPr>
        <p:pic>
          <p:nvPicPr>
            <p:cNvPr id="8" name="Picture 3" descr="C:\Users\eprvs\Downloads\82940354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331"/>
            <a:stretch/>
          </p:blipFill>
          <p:spPr bwMode="auto">
            <a:xfrm>
              <a:off x="3172613" y="836106"/>
              <a:ext cx="5569635" cy="57749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72E59BAD-2108-4ADE-8A90-8C9875CF5609}"/>
                </a:ext>
              </a:extLst>
            </p:cNvPr>
            <p:cNvSpPr/>
            <p:nvPr/>
          </p:nvSpPr>
          <p:spPr>
            <a:xfrm>
              <a:off x="4044638" y="3345908"/>
              <a:ext cx="1524957" cy="39684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10" name="直接箭头连接符 28">
              <a:extLst>
                <a:ext uri="{FF2B5EF4-FFF2-40B4-BE49-F238E27FC236}">
                  <a16:creationId xmlns:a16="http://schemas.microsoft.com/office/drawing/2014/main" id="{FD4CA2BD-40F0-4D6C-82B2-B2A4426401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80881" y="3345908"/>
              <a:ext cx="0" cy="396841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文本框 2">
              <a:extLst>
                <a:ext uri="{FF2B5EF4-FFF2-40B4-BE49-F238E27FC236}">
                  <a16:creationId xmlns:a16="http://schemas.microsoft.com/office/drawing/2014/main" id="{3524C397-C6B4-45CC-A074-4D516F6740DD}"/>
                </a:ext>
              </a:extLst>
            </p:cNvPr>
            <p:cNvSpPr txBox="1"/>
            <p:nvPr/>
          </p:nvSpPr>
          <p:spPr>
            <a:xfrm>
              <a:off x="3351608" y="3353666"/>
              <a:ext cx="64747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6m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文本框 2">
              <a:extLst>
                <a:ext uri="{FF2B5EF4-FFF2-40B4-BE49-F238E27FC236}">
                  <a16:creationId xmlns:a16="http://schemas.microsoft.com/office/drawing/2014/main" id="{1AFAE2BC-1FA4-4F90-AC62-1E436C34ED58}"/>
                </a:ext>
              </a:extLst>
            </p:cNvPr>
            <p:cNvSpPr txBox="1"/>
            <p:nvPr/>
          </p:nvSpPr>
          <p:spPr>
            <a:xfrm>
              <a:off x="4037498" y="3394095"/>
              <a:ext cx="1678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维修接待</a:t>
              </a:r>
              <a:r>
                <a:rPr lang="en-US" altLang="zh-CN" sz="14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客休区</a:t>
              </a: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5674579D-6269-402B-B2E6-70FDDA061673}"/>
                </a:ext>
              </a:extLst>
            </p:cNvPr>
            <p:cNvSpPr/>
            <p:nvPr/>
          </p:nvSpPr>
          <p:spPr>
            <a:xfrm>
              <a:off x="4057818" y="3815952"/>
              <a:ext cx="3654284" cy="222798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17" name="直接箭头连接符 28">
              <a:extLst>
                <a:ext uri="{FF2B5EF4-FFF2-40B4-BE49-F238E27FC236}">
                  <a16:creationId xmlns:a16="http://schemas.microsoft.com/office/drawing/2014/main" id="{D986DC9D-4722-46DF-A4B6-0CDA554472A2}"/>
                </a:ext>
              </a:extLst>
            </p:cNvPr>
            <p:cNvCxnSpPr>
              <a:cxnSpLocks/>
            </p:cNvCxnSpPr>
            <p:nvPr/>
          </p:nvCxnSpPr>
          <p:spPr>
            <a:xfrm>
              <a:off x="3999087" y="3253408"/>
              <a:ext cx="1570508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箭头连接符 20">
              <a:extLst>
                <a:ext uri="{FF2B5EF4-FFF2-40B4-BE49-F238E27FC236}">
                  <a16:creationId xmlns:a16="http://schemas.microsoft.com/office/drawing/2014/main" id="{394A6C64-2210-4ADC-86DE-3D774151FD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78656" y="2055182"/>
              <a:ext cx="0" cy="1760770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文本框 2">
              <a:extLst>
                <a:ext uri="{FF2B5EF4-FFF2-40B4-BE49-F238E27FC236}">
                  <a16:creationId xmlns:a16="http://schemas.microsoft.com/office/drawing/2014/main" id="{1D536908-5AA6-4F96-8AEA-673383FED837}"/>
                </a:ext>
              </a:extLst>
            </p:cNvPr>
            <p:cNvSpPr txBox="1"/>
            <p:nvPr/>
          </p:nvSpPr>
          <p:spPr>
            <a:xfrm>
              <a:off x="7956359" y="2814243"/>
              <a:ext cx="78588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0m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49D2C2D4-F635-BFEF-1FCF-BE46D938D5BE}"/>
                </a:ext>
              </a:extLst>
            </p:cNvPr>
            <p:cNvSpPr/>
            <p:nvPr/>
          </p:nvSpPr>
          <p:spPr>
            <a:xfrm>
              <a:off x="4039628" y="2103135"/>
              <a:ext cx="3672474" cy="162558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2" name="文本框 32">
              <a:extLst>
                <a:ext uri="{FF2B5EF4-FFF2-40B4-BE49-F238E27FC236}">
                  <a16:creationId xmlns:a16="http://schemas.microsoft.com/office/drawing/2014/main" id="{638CF40B-51BF-1BC1-A462-A9F6ED904093}"/>
                </a:ext>
              </a:extLst>
            </p:cNvPr>
            <p:cNvSpPr txBox="1"/>
            <p:nvPr/>
          </p:nvSpPr>
          <p:spPr>
            <a:xfrm>
              <a:off x="5491826" y="2460300"/>
              <a:ext cx="233985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展厅及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功能区</a:t>
              </a:r>
            </a:p>
          </p:txBody>
        </p:sp>
        <p:cxnSp>
          <p:nvCxnSpPr>
            <p:cNvPr id="23" name="直接箭头连接符 28">
              <a:extLst>
                <a:ext uri="{FF2B5EF4-FFF2-40B4-BE49-F238E27FC236}">
                  <a16:creationId xmlns:a16="http://schemas.microsoft.com/office/drawing/2014/main" id="{1EF0E24C-26F5-8EEE-3306-D6A95CE08CA6}"/>
                </a:ext>
              </a:extLst>
            </p:cNvPr>
            <p:cNvCxnSpPr>
              <a:cxnSpLocks/>
            </p:cNvCxnSpPr>
            <p:nvPr/>
          </p:nvCxnSpPr>
          <p:spPr>
            <a:xfrm>
              <a:off x="4003458" y="1865906"/>
              <a:ext cx="3589750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文本框 2">
              <a:extLst>
                <a:ext uri="{FF2B5EF4-FFF2-40B4-BE49-F238E27FC236}">
                  <a16:creationId xmlns:a16="http://schemas.microsoft.com/office/drawing/2014/main" id="{9227C38F-6AEE-0394-0CEB-BEE669CD2932}"/>
                </a:ext>
              </a:extLst>
            </p:cNvPr>
            <p:cNvSpPr txBox="1"/>
            <p:nvPr/>
          </p:nvSpPr>
          <p:spPr>
            <a:xfrm>
              <a:off x="4431114" y="2900822"/>
              <a:ext cx="150325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2m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5" name="文本框 2">
              <a:extLst>
                <a:ext uri="{FF2B5EF4-FFF2-40B4-BE49-F238E27FC236}">
                  <a16:creationId xmlns:a16="http://schemas.microsoft.com/office/drawing/2014/main" id="{27956871-1B9F-FDAD-3BEE-56E4F51A1E79}"/>
                </a:ext>
              </a:extLst>
            </p:cNvPr>
            <p:cNvSpPr txBox="1"/>
            <p:nvPr/>
          </p:nvSpPr>
          <p:spPr>
            <a:xfrm>
              <a:off x="5338900" y="4884671"/>
              <a:ext cx="107392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售后车间</a:t>
              </a:r>
            </a:p>
          </p:txBody>
        </p:sp>
        <p:sp>
          <p:nvSpPr>
            <p:cNvPr id="26" name="文本框 36">
              <a:extLst>
                <a:ext uri="{FF2B5EF4-FFF2-40B4-BE49-F238E27FC236}">
                  <a16:creationId xmlns:a16="http://schemas.microsoft.com/office/drawing/2014/main" id="{58A6A52A-5DA6-F378-A482-1BE058D552FA}"/>
                </a:ext>
              </a:extLst>
            </p:cNvPr>
            <p:cNvSpPr txBox="1"/>
            <p:nvPr/>
          </p:nvSpPr>
          <p:spPr>
            <a:xfrm>
              <a:off x="5363193" y="1250351"/>
              <a:ext cx="109386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1400" dirty="0">
                  <a:solidFill>
                    <a:srgbClr val="FF0000"/>
                  </a:solidFill>
                  <a:latin typeface="HYQIHEI-55S BOOK" pitchFamily="18" charset="-122"/>
                  <a:ea typeface="HYQIHEI-55S BOOK" pitchFamily="18" charset="-122"/>
                </a:rPr>
                <a:t>展厅入口</a:t>
              </a:r>
            </a:p>
          </p:txBody>
        </p:sp>
        <p:sp>
          <p:nvSpPr>
            <p:cNvPr id="27" name="文本框 2">
              <a:extLst>
                <a:ext uri="{FF2B5EF4-FFF2-40B4-BE49-F238E27FC236}">
                  <a16:creationId xmlns:a16="http://schemas.microsoft.com/office/drawing/2014/main" id="{307DDD54-EA42-40D9-BA93-8C4A935E6A31}"/>
                </a:ext>
              </a:extLst>
            </p:cNvPr>
            <p:cNvSpPr txBox="1"/>
            <p:nvPr/>
          </p:nvSpPr>
          <p:spPr>
            <a:xfrm>
              <a:off x="5405388" y="1483332"/>
              <a:ext cx="78588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30m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cxnSp>
          <p:nvCxnSpPr>
            <p:cNvPr id="33" name="直接箭头连接符 20">
              <a:extLst>
                <a:ext uri="{FF2B5EF4-FFF2-40B4-BE49-F238E27FC236}">
                  <a16:creationId xmlns:a16="http://schemas.microsoft.com/office/drawing/2014/main" id="{394A6C64-2210-4ADC-86DE-3D774151FD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78656" y="3815952"/>
              <a:ext cx="0" cy="2227987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文本框 2">
              <a:extLst>
                <a:ext uri="{FF2B5EF4-FFF2-40B4-BE49-F238E27FC236}">
                  <a16:creationId xmlns:a16="http://schemas.microsoft.com/office/drawing/2014/main" id="{1D536908-5AA6-4F96-8AEA-673383FED837}"/>
                </a:ext>
              </a:extLst>
            </p:cNvPr>
            <p:cNvSpPr txBox="1"/>
            <p:nvPr/>
          </p:nvSpPr>
          <p:spPr>
            <a:xfrm>
              <a:off x="7878656" y="4610758"/>
              <a:ext cx="78588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35m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6BE36ABF-22EC-EB70-E384-58C2A7122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0. </a:t>
            </a:r>
            <a:r>
              <a:rPr lang="zh-CN" altLang="en-US" dirty="0"/>
              <a:t>场地平面图</a:t>
            </a:r>
          </a:p>
        </p:txBody>
      </p:sp>
    </p:spTree>
    <p:extLst>
      <p:ext uri="{BB962C8B-B14F-4D97-AF65-F5344CB8AC3E}">
        <p14:creationId xmlns:p14="http://schemas.microsoft.com/office/powerpoint/2010/main" val="1832141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2616564"/>
              </p:ext>
            </p:extLst>
          </p:nvPr>
        </p:nvGraphicFramePr>
        <p:xfrm>
          <a:off x="2056596" y="2162475"/>
          <a:ext cx="8078808" cy="2533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06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281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066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申请区域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dirty="0">
                          <a:latin typeface="+mj-lt"/>
                          <a:ea typeface="+mj-ea"/>
                          <a:cs typeface="微软雅黑"/>
                        </a:rPr>
                        <a:t>XX</a:t>
                      </a:r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省  </a:t>
                      </a:r>
                      <a:r>
                        <a:rPr lang="en-US" altLang="zh-CN" sz="1800" b="1" baseline="0" dirty="0">
                          <a:latin typeface="+mj-lt"/>
                          <a:ea typeface="+mj-ea"/>
                          <a:cs typeface="微软雅黑"/>
                        </a:rPr>
                        <a:t>XX</a:t>
                      </a:r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市  </a:t>
                      </a:r>
                      <a:r>
                        <a:rPr lang="en-US" altLang="zh-CN" sz="1800" b="1" dirty="0">
                          <a:latin typeface="+mj-lt"/>
                          <a:ea typeface="+mj-ea"/>
                          <a:cs typeface="微软雅黑"/>
                        </a:rPr>
                        <a:t>XX</a:t>
                      </a:r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区</a:t>
                      </a:r>
                      <a:r>
                        <a:rPr lang="en-US" altLang="zh-CN" sz="1800" b="1" dirty="0">
                          <a:latin typeface="+mj-lt"/>
                          <a:ea typeface="+mj-ea"/>
                          <a:cs typeface="微软雅黑"/>
                        </a:rPr>
                        <a:t>/</a:t>
                      </a:r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市</a:t>
                      </a:r>
                      <a:r>
                        <a:rPr lang="en-US" altLang="zh-CN" sz="1800" b="1" dirty="0">
                          <a:latin typeface="+mj-lt"/>
                          <a:ea typeface="+mj-ea"/>
                          <a:cs typeface="微软雅黑"/>
                        </a:rPr>
                        <a:t>/</a:t>
                      </a:r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县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661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kern="1200" dirty="0">
                          <a:solidFill>
                            <a:schemeClr val="dk1"/>
                          </a:solidFill>
                          <a:latin typeface="+mj-lt"/>
                          <a:ea typeface="+mj-ea"/>
                          <a:cs typeface="微软雅黑"/>
                        </a:rPr>
                        <a:t>申请公司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0" kern="1200" dirty="0">
                          <a:solidFill>
                            <a:schemeClr val="dk1"/>
                          </a:solidFill>
                          <a:latin typeface="+mj-lt"/>
                          <a:ea typeface="+mj-ea"/>
                          <a:cs typeface="微软雅黑"/>
                        </a:rPr>
                        <a:t>XXXXX</a:t>
                      </a:r>
                      <a:r>
                        <a:rPr lang="zh-CN" altLang="en-US" sz="1800" b="0" kern="1200" dirty="0">
                          <a:solidFill>
                            <a:schemeClr val="dk1"/>
                          </a:solidFill>
                          <a:latin typeface="+mj-lt"/>
                          <a:ea typeface="+mj-ea"/>
                          <a:cs typeface="微软雅黑"/>
                        </a:rPr>
                        <a:t>销售服务有限公司 </a:t>
                      </a:r>
                      <a:endParaRPr lang="zh-CN" altLang="zh-CN" sz="1800" b="0" kern="1200" dirty="0">
                        <a:solidFill>
                          <a:schemeClr val="dk1"/>
                        </a:solidFill>
                        <a:latin typeface="+mj-lt"/>
                        <a:ea typeface="+mj-ea"/>
                        <a:cs typeface="微软雅黑"/>
                      </a:endParaRP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66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申请时间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0" dirty="0">
                          <a:latin typeface="+mj-lt"/>
                          <a:ea typeface="+mj-ea"/>
                          <a:cs typeface="微软雅黑"/>
                        </a:rPr>
                        <a:t>2023</a:t>
                      </a:r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年</a:t>
                      </a:r>
                      <a:r>
                        <a:rPr lang="en-US" altLang="zh-CN" sz="1800" b="0" dirty="0">
                          <a:latin typeface="+mj-lt"/>
                          <a:ea typeface="+mj-ea"/>
                          <a:cs typeface="微软雅黑"/>
                        </a:rPr>
                        <a:t>XX</a:t>
                      </a:r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月</a:t>
                      </a:r>
                      <a:r>
                        <a:rPr lang="en-US" altLang="zh-CN" sz="1800" b="0" dirty="0">
                          <a:latin typeface="+mj-lt"/>
                          <a:ea typeface="+mj-ea"/>
                          <a:cs typeface="微软雅黑"/>
                        </a:rPr>
                        <a:t>XX</a:t>
                      </a:r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日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66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申请品牌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0" dirty="0">
                          <a:latin typeface="+mj-lt"/>
                          <a:ea typeface="+mj-ea"/>
                          <a:cs typeface="微软雅黑"/>
                        </a:rPr>
                        <a:t>MG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66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项目对接人</a:t>
                      </a:r>
                      <a:r>
                        <a:rPr lang="en-US" altLang="zh-CN" sz="1800" b="0" dirty="0">
                          <a:latin typeface="+mj-lt"/>
                          <a:ea typeface="+mj-ea"/>
                          <a:cs typeface="微软雅黑"/>
                        </a:rPr>
                        <a:t>/</a:t>
                      </a:r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联系方式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王</a:t>
                      </a:r>
                      <a:r>
                        <a:rPr lang="en-US" altLang="zh-CN" sz="1800" b="0" dirty="0">
                          <a:latin typeface="+mj-lt"/>
                          <a:ea typeface="+mj-ea"/>
                          <a:cs typeface="微软雅黑"/>
                        </a:rPr>
                        <a:t>XX/188XXXXXXXX</a:t>
                      </a:r>
                      <a:endParaRPr lang="zh-CN" altLang="en-US" sz="1800" b="0" dirty="0">
                        <a:latin typeface="+mj-lt"/>
                        <a:ea typeface="+mj-ea"/>
                        <a:cs typeface="微软雅黑"/>
                      </a:endParaRP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182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721895" y="2943727"/>
            <a:ext cx="4812632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n-US" altLang="zh-CN" sz="4267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 YOU</a:t>
            </a:r>
            <a:endParaRPr lang="zh-CN" altLang="en-US" sz="4267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47722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721895" y="2943727"/>
            <a:ext cx="4812632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n-US" altLang="zh-CN" sz="4267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CK UP</a:t>
            </a:r>
            <a:endParaRPr lang="zh-CN" altLang="en-US" sz="4267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8376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>
            <a:extLst>
              <a:ext uri="{FF2B5EF4-FFF2-40B4-BE49-F238E27FC236}">
                <a16:creationId xmlns:a16="http://schemas.microsoft.com/office/drawing/2014/main" id="{D10D12D1-0887-4834-A934-B118ABD61722}"/>
              </a:ext>
            </a:extLst>
          </p:cNvPr>
          <p:cNvSpPr txBox="1">
            <a:spLocks/>
          </p:cNvSpPr>
          <p:nvPr/>
        </p:nvSpPr>
        <p:spPr>
          <a:xfrm>
            <a:off x="1132993" y="57147"/>
            <a:ext cx="10515600" cy="687611"/>
          </a:xfrm>
          <a:prstGeom prst="rect">
            <a:avLst/>
          </a:prstGeom>
        </p:spPr>
        <p:txBody>
          <a:bodyPr vert="horz" lIns="77396" tIns="38691" rIns="77396" bIns="38691" rtlCol="0" anchor="ctr">
            <a:normAutofit/>
          </a:bodyPr>
          <a:lstStyle>
            <a:lvl1pPr marL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zh-CN" altLang="en-US" sz="2000" b="1" kern="12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defRPr>
            </a:lvl1pPr>
          </a:lstStyle>
          <a:p>
            <a:r>
              <a:rPr lang="en-US" altLang="zh-CN" dirty="0"/>
              <a:t>1. 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/>
                <a:ea typeface="微软雅黑"/>
              </a:rPr>
              <a:t>上汽集团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/>
                <a:ea typeface="微软雅黑"/>
              </a:rPr>
              <a:t>FED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/>
                <a:ea typeface="微软雅黑"/>
              </a:rPr>
              <a:t>标准效果图</a:t>
            </a:r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4E4B4F2C-3336-4940-8658-49C94F2F39E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8" y="995308"/>
            <a:ext cx="5823342" cy="2566153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298B1A5C-49C4-48C1-90B2-82EA065615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715" y="995307"/>
            <a:ext cx="4560696" cy="2566153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BD55D5CB-72C2-4175-95FD-E850782526E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477" y="4065091"/>
            <a:ext cx="3658672" cy="2058612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BB0B3BEB-6FD7-45EC-9A64-C01A9ABF3A4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69" y="4065091"/>
            <a:ext cx="3658671" cy="2058613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FE17E083-8823-459C-AD93-E3841E2B4624}"/>
              </a:ext>
            </a:extLst>
          </p:cNvPr>
          <p:cNvSpPr txBox="1"/>
          <p:nvPr/>
        </p:nvSpPr>
        <p:spPr>
          <a:xfrm>
            <a:off x="2541709" y="3603469"/>
            <a:ext cx="2240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外立面效果图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7A7F7FD-FC64-4B35-B828-F43A54F46EA0}"/>
              </a:ext>
            </a:extLst>
          </p:cNvPr>
          <p:cNvSpPr txBox="1"/>
          <p:nvPr/>
        </p:nvSpPr>
        <p:spPr>
          <a:xfrm>
            <a:off x="7947735" y="3603469"/>
            <a:ext cx="2240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展厅效果图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B92A1D58-322B-441C-BF42-FF7AB458D39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1" t="7387" r="-121" b="5395"/>
          <a:stretch/>
        </p:blipFill>
        <p:spPr>
          <a:xfrm>
            <a:off x="7996186" y="4065090"/>
            <a:ext cx="3663119" cy="2058613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AF764D46-9B35-41B7-B6D3-3AF89225C3CD}"/>
              </a:ext>
            </a:extLst>
          </p:cNvPr>
          <p:cNvSpPr txBox="1"/>
          <p:nvPr/>
        </p:nvSpPr>
        <p:spPr>
          <a:xfrm>
            <a:off x="1593281" y="6195972"/>
            <a:ext cx="14976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售后接待区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390D2C2C-654E-419E-A80F-76026DAE7720}"/>
              </a:ext>
            </a:extLst>
          </p:cNvPr>
          <p:cNvSpPr txBox="1"/>
          <p:nvPr/>
        </p:nvSpPr>
        <p:spPr>
          <a:xfrm>
            <a:off x="9184771" y="6195970"/>
            <a:ext cx="14976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售后车间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37DB530F-FD72-42E0-8696-A5DF71BAEEB1}"/>
              </a:ext>
            </a:extLst>
          </p:cNvPr>
          <p:cNvSpPr txBox="1"/>
          <p:nvPr/>
        </p:nvSpPr>
        <p:spPr>
          <a:xfrm>
            <a:off x="5326857" y="6195972"/>
            <a:ext cx="14976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客休区</a:t>
            </a:r>
          </a:p>
        </p:txBody>
      </p:sp>
    </p:spTree>
    <p:extLst>
      <p:ext uri="{BB962C8B-B14F-4D97-AF65-F5344CB8AC3E}">
        <p14:creationId xmlns:p14="http://schemas.microsoft.com/office/powerpoint/2010/main" val="559746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>
            <a:extLst>
              <a:ext uri="{FF2B5EF4-FFF2-40B4-BE49-F238E27FC236}">
                <a16:creationId xmlns:a16="http://schemas.microsoft.com/office/drawing/2014/main" id="{D10D12D1-0887-4834-A934-B118ABD61722}"/>
              </a:ext>
            </a:extLst>
          </p:cNvPr>
          <p:cNvSpPr txBox="1">
            <a:spLocks/>
          </p:cNvSpPr>
          <p:nvPr/>
        </p:nvSpPr>
        <p:spPr>
          <a:xfrm>
            <a:off x="1132993" y="57147"/>
            <a:ext cx="10515600" cy="687611"/>
          </a:xfrm>
          <a:prstGeom prst="rect">
            <a:avLst/>
          </a:prstGeom>
        </p:spPr>
        <p:txBody>
          <a:bodyPr vert="horz" lIns="77396" tIns="38691" rIns="77396" bIns="38691" rtlCol="0" anchor="ctr">
            <a:normAutofit/>
          </a:bodyPr>
          <a:lstStyle>
            <a:lvl1pPr marL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zh-CN" altLang="en-US" sz="2000" b="1" kern="12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defRPr>
            </a:lvl1pPr>
          </a:lstStyle>
          <a:p>
            <a:r>
              <a:rPr lang="en-US" altLang="zh-CN" dirty="0"/>
              <a:t>2</a:t>
            </a:r>
            <a:r>
              <a:rPr lang="en-US" altLang="zh-CN" dirty="0" smtClean="0"/>
              <a:t>. </a:t>
            </a:r>
            <a:r>
              <a:rPr lang="zh-CN" altLang="en-US" dirty="0"/>
              <a:t>上汽集团授权经销店申请、审批工作流程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24D993D3-D0DB-41BA-B86F-CF688B9E0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1200" y="902641"/>
            <a:ext cx="5689600" cy="5540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1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1"/>
          <p:cNvSpPr txBox="1"/>
          <p:nvPr/>
        </p:nvSpPr>
        <p:spPr>
          <a:xfrm>
            <a:off x="8873730" y="247063"/>
            <a:ext cx="29321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备注：股权结构从</a:t>
            </a:r>
            <a:r>
              <a:rPr kumimoji="1" lang="en-US" altLang="zh-CN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【</a:t>
            </a:r>
            <a:r>
              <a:rPr kumimoji="1" lang="zh-CN" altLang="en-US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天眼查</a:t>
            </a:r>
            <a:r>
              <a:rPr kumimoji="1" lang="en-US" altLang="zh-CN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】</a:t>
            </a:r>
            <a:r>
              <a:rPr kumimoji="1" lang="zh-CN" altLang="en-US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截屏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AFABCF3-0BFC-01D5-6D0E-43A31A000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</a:t>
            </a:r>
            <a:r>
              <a:rPr lang="en-US" altLang="zh-CN" dirty="0" smtClean="0"/>
              <a:t>. </a:t>
            </a:r>
            <a:r>
              <a:rPr lang="zh-CN" altLang="en-US" dirty="0"/>
              <a:t>申请公司营业执照、股权结构</a:t>
            </a:r>
            <a:r>
              <a:rPr lang="zh-CN" altLang="en-US" dirty="0">
                <a:solidFill>
                  <a:srgbClr val="FF0000"/>
                </a:solidFill>
              </a:rPr>
              <a:t>（请提供营业执照）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7025" y="1254617"/>
            <a:ext cx="3916784" cy="478053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6403BB28-9A85-4BE3-A787-10197AB58E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4302" y="1151402"/>
            <a:ext cx="3115326" cy="498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207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352981"/>
              </p:ext>
            </p:extLst>
          </p:nvPr>
        </p:nvGraphicFramePr>
        <p:xfrm>
          <a:off x="914404" y="1107440"/>
          <a:ext cx="10363194" cy="5140962"/>
        </p:xfrm>
        <a:graphic>
          <a:graphicData uri="http://schemas.openxmlformats.org/drawingml/2006/table">
            <a:tbl>
              <a:tblPr/>
              <a:tblGrid>
                <a:gridCol w="17271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71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71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271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271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2719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71218">
                <a:tc rowSpan="3">
                  <a:txBody>
                    <a:bodyPr/>
                    <a:lstStyle/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申请公司</a:t>
                      </a:r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基本情况</a:t>
                      </a:r>
                    </a:p>
                  </a:txBody>
                  <a:tcPr marL="15631" marR="15631" marT="1270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申请公司全称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noProof="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XX</a:t>
                      </a:r>
                      <a:r>
                        <a:rPr lang="zh-CN" altLang="en-US" sz="1400" b="0" kern="1200" noProof="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公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/>
                          <a:ea typeface="微软雅黑"/>
                          <a:cs typeface="微软雅黑"/>
                        </a:rPr>
                        <a:t>司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成立时间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年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月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日</a:t>
                      </a:r>
                      <a:endParaRPr lang="en-US" altLang="zh-CN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注册资金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万元</a:t>
                      </a:r>
                      <a:endParaRPr lang="zh-TW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经营品牌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所在城市</a:t>
                      </a:r>
                      <a:r>
                        <a:rPr lang="en-US" altLang="zh-CN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/</a:t>
                      </a:r>
                      <a:r>
                        <a:rPr lang="zh-CN" alt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区县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市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区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/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县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/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市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一汽大众</a:t>
                      </a:r>
                    </a:p>
                  </a:txBody>
                  <a:tcPr marL="15631" marR="15631" marT="1270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1218">
                <a:tc rowSpan="6">
                  <a:txBody>
                    <a:bodyPr/>
                    <a:lstStyle/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申请公司</a:t>
                      </a:r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股东情况</a:t>
                      </a:r>
                    </a:p>
                  </a:txBody>
                  <a:tcPr marL="15631" marR="15631" marT="1270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股东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出资金额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股比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涉及其他行业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</a:t>
                      </a:r>
                      <a:endParaRPr lang="zh-CN" altLang="zh-CN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auto"/>
                      <a:r>
                        <a:rPr lang="en-GB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600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万元</a:t>
                      </a:r>
                      <a:endParaRPr lang="zh-TW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%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200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万元</a:t>
                      </a:r>
                      <a:endParaRPr lang="zh-TW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%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0329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股东间关系</a:t>
                      </a: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auto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auto"/>
                      <a:endParaRPr kumimoji="0" lang="zh-CN" altLang="en-US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911850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微软雅黑"/>
                        </a:rPr>
                        <a:t>法人代表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A197E50E-E034-499F-9627-E51153F34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rPr>
              <a:t>1. </a:t>
            </a:r>
            <a:r>
              <a:rPr lang="zh-CN" alt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rPr>
              <a:t>申请公司情况介绍</a:t>
            </a:r>
            <a:endParaRPr lang="en-US" altLang="zh-CN" sz="2000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428807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表格 10">
            <a:extLst>
              <a:ext uri="{FF2B5EF4-FFF2-40B4-BE49-F238E27FC236}">
                <a16:creationId xmlns:a16="http://schemas.microsoft.com/office/drawing/2014/main" id="{96F33CA0-53E0-96A6-5B2E-0946743A7D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5891645"/>
              </p:ext>
            </p:extLst>
          </p:nvPr>
        </p:nvGraphicFramePr>
        <p:xfrm>
          <a:off x="914405" y="1107440"/>
          <a:ext cx="10363191" cy="5140961"/>
        </p:xfrm>
        <a:graphic>
          <a:graphicData uri="http://schemas.openxmlformats.org/drawingml/2006/table">
            <a:tbl>
              <a:tblPr/>
              <a:tblGrid>
                <a:gridCol w="1727199">
                  <a:extLst>
                    <a:ext uri="{9D8B030D-6E8A-4147-A177-3AD203B41FA5}">
                      <a16:colId xmlns:a16="http://schemas.microsoft.com/office/drawing/2014/main" val="3465538115"/>
                    </a:ext>
                  </a:extLst>
                </a:gridCol>
                <a:gridCol w="2158998">
                  <a:extLst>
                    <a:ext uri="{9D8B030D-6E8A-4147-A177-3AD203B41FA5}">
                      <a16:colId xmlns:a16="http://schemas.microsoft.com/office/drawing/2014/main" val="3565825003"/>
                    </a:ext>
                  </a:extLst>
                </a:gridCol>
                <a:gridCol w="2158998">
                  <a:extLst>
                    <a:ext uri="{9D8B030D-6E8A-4147-A177-3AD203B41FA5}">
                      <a16:colId xmlns:a16="http://schemas.microsoft.com/office/drawing/2014/main" val="2008986559"/>
                    </a:ext>
                  </a:extLst>
                </a:gridCol>
                <a:gridCol w="2158998">
                  <a:extLst>
                    <a:ext uri="{9D8B030D-6E8A-4147-A177-3AD203B41FA5}">
                      <a16:colId xmlns:a16="http://schemas.microsoft.com/office/drawing/2014/main" val="1662056959"/>
                    </a:ext>
                  </a:extLst>
                </a:gridCol>
                <a:gridCol w="2158998">
                  <a:extLst>
                    <a:ext uri="{9D8B030D-6E8A-4147-A177-3AD203B41FA5}">
                      <a16:colId xmlns:a16="http://schemas.microsoft.com/office/drawing/2014/main" val="3503858773"/>
                    </a:ext>
                  </a:extLst>
                </a:gridCol>
              </a:tblGrid>
              <a:tr h="734423">
                <a:tc rowSpan="2"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拟建公司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基本情况</a:t>
                      </a:r>
                    </a:p>
                  </a:txBody>
                  <a:tcPr marL="14428" marR="14428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此次申请上海汽车品牌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i="0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MG</a:t>
                      </a:r>
                      <a:endParaRPr lang="zh-CN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6496072"/>
                  </a:ext>
                </a:extLst>
              </a:tr>
              <a:tr h="7344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拟建新公司注册资金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X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万</a:t>
                      </a:r>
                      <a:endParaRPr lang="zh-TW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建店形式</a:t>
                      </a:r>
                      <a:endParaRPr lang="zh-TW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改建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/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新建</a:t>
                      </a:r>
                      <a:endParaRPr lang="zh-TW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6691796"/>
                  </a:ext>
                </a:extLst>
              </a:tr>
              <a:tr h="734423">
                <a:tc rowSpan="5">
                  <a:txBody>
                    <a:bodyPr/>
                    <a:lstStyle/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拟建公司        </a:t>
                      </a:r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股东情况</a:t>
                      </a:r>
                    </a:p>
                  </a:txBody>
                  <a:tcPr marL="14428" marR="14428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股东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出资金额</a:t>
                      </a:r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股比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涉及其他行业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2974272"/>
                  </a:ext>
                </a:extLst>
              </a:tr>
              <a:tr h="7344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X</a:t>
                      </a:r>
                      <a:endParaRPr lang="zh-CN" altLang="zh-CN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万元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%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3116082"/>
                  </a:ext>
                </a:extLst>
              </a:tr>
              <a:tr h="7344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XX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万元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%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2313324"/>
                  </a:ext>
                </a:extLst>
              </a:tr>
              <a:tr h="7344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1667650"/>
                  </a:ext>
                </a:extLst>
              </a:tr>
              <a:tr h="7344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>
                        <a:spcAft>
                          <a:spcPts val="0"/>
                        </a:spcAft>
                      </a:pPr>
                      <a:r>
                        <a:rPr lang="zh-CN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法人代表</a:t>
                      </a:r>
                      <a:endParaRPr lang="zh-CN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84406" marR="84406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X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4406" marR="84406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7317808"/>
                  </a:ext>
                </a:extLst>
              </a:tr>
            </a:tbl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13DA3FA3-5C06-3D13-6F8B-4799EF773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2. </a:t>
            </a:r>
            <a:r>
              <a:rPr lang="zh-CN" altLang="en-US" dirty="0"/>
              <a:t>拟建新公司情况介绍</a:t>
            </a:r>
          </a:p>
        </p:txBody>
      </p:sp>
    </p:spTree>
    <p:extLst>
      <p:ext uri="{BB962C8B-B14F-4D97-AF65-F5344CB8AC3E}">
        <p14:creationId xmlns:p14="http://schemas.microsoft.com/office/powerpoint/2010/main" val="4085486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41B44B6-265F-F363-214E-12BF43CF3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</a:t>
            </a:r>
            <a:r>
              <a:rPr lang="zh-CN" altLang="en-US" dirty="0"/>
              <a:t>投资方概况</a:t>
            </a:r>
          </a:p>
        </p:txBody>
      </p:sp>
      <p:sp>
        <p:nvSpPr>
          <p:cNvPr id="5" name="文本占位符 1">
            <a:extLst>
              <a:ext uri="{FF2B5EF4-FFF2-40B4-BE49-F238E27FC236}">
                <a16:creationId xmlns:a16="http://schemas.microsoft.com/office/drawing/2014/main" id="{DBCA8486-3ED5-B9C1-0161-908A1D7E0D7C}"/>
              </a:ext>
            </a:extLst>
          </p:cNvPr>
          <p:cNvSpPr txBox="1">
            <a:spLocks/>
          </p:cNvSpPr>
          <p:nvPr/>
        </p:nvSpPr>
        <p:spPr>
          <a:xfrm>
            <a:off x="689343" y="1173037"/>
            <a:ext cx="7416059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3.1 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实控人（大股东）信息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57B80AFD-C0FA-4E7B-0F3B-CBC0A8BFA8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5903412"/>
              </p:ext>
            </p:extLst>
          </p:nvPr>
        </p:nvGraphicFramePr>
        <p:xfrm>
          <a:off x="750303" y="1694826"/>
          <a:ext cx="10691393" cy="4634856"/>
        </p:xfrm>
        <a:graphic>
          <a:graphicData uri="http://schemas.openxmlformats.org/drawingml/2006/table">
            <a:tbl>
              <a:tblPr firstRow="1" firstCol="1" bandRow="1"/>
              <a:tblGrid>
                <a:gridCol w="1579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044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8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037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25773">
                  <a:extLst>
                    <a:ext uri="{9D8B030D-6E8A-4147-A177-3AD203B41FA5}">
                      <a16:colId xmlns:a16="http://schemas.microsoft.com/office/drawing/2014/main" val="3546462514"/>
                    </a:ext>
                  </a:extLst>
                </a:gridCol>
              </a:tblGrid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r">
                        <a:spcAft>
                          <a:spcPts val="0"/>
                        </a:spcAft>
                        <a:tabLst>
                          <a:tab pos="737870" algn="l"/>
                          <a:tab pos="1493520" algn="l"/>
                          <a:tab pos="1831340" algn="l"/>
                          <a:tab pos="2311400" algn="l"/>
                          <a:tab pos="3031490" algn="l"/>
                          <a:tab pos="3608705" algn="l"/>
                          <a:tab pos="3724275" algn="l"/>
                          <a:tab pos="3884295" algn="l"/>
                          <a:tab pos="5128895" algn="l"/>
                          <a:tab pos="5244465" algn="l"/>
                        </a:tabLs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姓名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b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籍贯</a:t>
                      </a:r>
                      <a:endParaRPr 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近期工作半身照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出生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月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6220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indent="0" algn="ctr" defTabSz="6095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常驻</a:t>
                      </a:r>
                      <a:r>
                        <a:rPr lang="zh-CN" alt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系方式</a:t>
                      </a: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要产业所在地</a:t>
                      </a: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59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参股其他汽车品牌</a:t>
                      </a:r>
                      <a:endParaRPr lang="zh-CN" altLang="zh-CN" sz="1400" b="1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8414537"/>
                  </a:ext>
                </a:extLst>
              </a:tr>
              <a:tr h="444968">
                <a:tc gridSpan="5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人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履历（投资管理经历）</a:t>
                      </a:r>
                      <a:endParaRPr lang="zh-CN" sz="14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起止年月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单位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承担职务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6862168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3786593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3747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41B44B6-265F-F363-214E-12BF43CF3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</a:t>
            </a:r>
            <a:r>
              <a:rPr lang="zh-CN" altLang="en-US" dirty="0"/>
              <a:t>投资方概况</a:t>
            </a:r>
          </a:p>
        </p:txBody>
      </p:sp>
      <p:sp>
        <p:nvSpPr>
          <p:cNvPr id="5" name="文本占位符 1">
            <a:extLst>
              <a:ext uri="{FF2B5EF4-FFF2-40B4-BE49-F238E27FC236}">
                <a16:creationId xmlns:a16="http://schemas.microsoft.com/office/drawing/2014/main" id="{DBCA8486-3ED5-B9C1-0161-908A1D7E0D7C}"/>
              </a:ext>
            </a:extLst>
          </p:cNvPr>
          <p:cNvSpPr txBox="1">
            <a:spLocks/>
          </p:cNvSpPr>
          <p:nvPr/>
        </p:nvSpPr>
        <p:spPr>
          <a:xfrm>
            <a:off x="689343" y="1173037"/>
            <a:ext cx="7416059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3.2 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参股人信息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57B80AFD-C0FA-4E7B-0F3B-CBC0A8BFA8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7429285"/>
              </p:ext>
            </p:extLst>
          </p:nvPr>
        </p:nvGraphicFramePr>
        <p:xfrm>
          <a:off x="750303" y="1694826"/>
          <a:ext cx="10691393" cy="4634856"/>
        </p:xfrm>
        <a:graphic>
          <a:graphicData uri="http://schemas.openxmlformats.org/drawingml/2006/table">
            <a:tbl>
              <a:tblPr firstRow="1" firstCol="1" bandRow="1"/>
              <a:tblGrid>
                <a:gridCol w="1579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044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8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037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25773">
                  <a:extLst>
                    <a:ext uri="{9D8B030D-6E8A-4147-A177-3AD203B41FA5}">
                      <a16:colId xmlns:a16="http://schemas.microsoft.com/office/drawing/2014/main" val="3546462514"/>
                    </a:ext>
                  </a:extLst>
                </a:gridCol>
              </a:tblGrid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r">
                        <a:spcAft>
                          <a:spcPts val="0"/>
                        </a:spcAft>
                        <a:tabLst>
                          <a:tab pos="737870" algn="l"/>
                          <a:tab pos="1493520" algn="l"/>
                          <a:tab pos="1831340" algn="l"/>
                          <a:tab pos="2311400" algn="l"/>
                          <a:tab pos="3031490" algn="l"/>
                          <a:tab pos="3608705" algn="l"/>
                          <a:tab pos="3724275" algn="l"/>
                          <a:tab pos="3884295" algn="l"/>
                          <a:tab pos="5128895" algn="l"/>
                          <a:tab pos="5244465" algn="l"/>
                        </a:tabLs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姓名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籍贯</a:t>
                      </a:r>
                      <a:endParaRPr 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近期工作半身照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出生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月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10329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40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indent="0" algn="ctr" defTabSz="6095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常驻</a:t>
                      </a:r>
                      <a:r>
                        <a:rPr lang="zh-CN" alt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系方式</a:t>
                      </a: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要产业所在地</a:t>
                      </a: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59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参股其他汽车品牌</a:t>
                      </a:r>
                      <a:endParaRPr lang="zh-CN" altLang="zh-CN" sz="1400" b="1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8414537"/>
                  </a:ext>
                </a:extLst>
              </a:tr>
              <a:tr h="444968">
                <a:tc gridSpan="5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人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履历（投资管理经历）</a:t>
                      </a:r>
                      <a:endParaRPr lang="zh-CN" sz="14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起止年月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单位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承担职务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6862168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3786593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7077E97E-1238-3999-B2BB-346857D64CD9}"/>
              </a:ext>
            </a:extLst>
          </p:cNvPr>
          <p:cNvSpPr txBox="1"/>
          <p:nvPr/>
        </p:nvSpPr>
        <p:spPr>
          <a:xfrm>
            <a:off x="689343" y="6400917"/>
            <a:ext cx="3230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请扩页详述新店每位参股人员情况</a:t>
            </a:r>
          </a:p>
        </p:txBody>
      </p:sp>
    </p:spTree>
    <p:extLst>
      <p:ext uri="{BB962C8B-B14F-4D97-AF65-F5344CB8AC3E}">
        <p14:creationId xmlns:p14="http://schemas.microsoft.com/office/powerpoint/2010/main" val="3091487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D764854-BACB-D12C-708D-36BA7801F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 </a:t>
            </a:r>
            <a:r>
              <a:rPr lang="zh-CN" altLang="en-US" dirty="0"/>
              <a:t>汽车行业经验</a:t>
            </a:r>
          </a:p>
        </p:txBody>
      </p:sp>
      <p:sp>
        <p:nvSpPr>
          <p:cNvPr id="5" name="文本占位符 1">
            <a:extLst>
              <a:ext uri="{FF2B5EF4-FFF2-40B4-BE49-F238E27FC236}">
                <a16:creationId xmlns:a16="http://schemas.microsoft.com/office/drawing/2014/main" id="{20A8BBCE-2431-09BD-E10C-D5FB7F66E17B}"/>
              </a:ext>
            </a:extLst>
          </p:cNvPr>
          <p:cNvSpPr txBox="1">
            <a:spLocks/>
          </p:cNvSpPr>
          <p:nvPr/>
        </p:nvSpPr>
        <p:spPr>
          <a:xfrm>
            <a:off x="791018" y="1757216"/>
            <a:ext cx="7416059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投资人旗下是否有其它汽车品牌，若有，请填写如下表格：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2EE1F6B5-A089-1C27-70E3-0699EB71AD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4644604"/>
              </p:ext>
            </p:extLst>
          </p:nvPr>
        </p:nvGraphicFramePr>
        <p:xfrm>
          <a:off x="876302" y="2312045"/>
          <a:ext cx="10439395" cy="3348310"/>
        </p:xfrm>
        <a:graphic>
          <a:graphicData uri="http://schemas.openxmlformats.org/drawingml/2006/table">
            <a:tbl>
              <a:tblPr/>
              <a:tblGrid>
                <a:gridCol w="466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4052">
                  <a:extLst>
                    <a:ext uri="{9D8B030D-6E8A-4147-A177-3AD203B41FA5}">
                      <a16:colId xmlns:a16="http://schemas.microsoft.com/office/drawing/2014/main" val="711165958"/>
                    </a:ext>
                  </a:extLst>
                </a:gridCol>
                <a:gridCol w="8940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4052">
                  <a:extLst>
                    <a:ext uri="{9D8B030D-6E8A-4147-A177-3AD203B41FA5}">
                      <a16:colId xmlns:a16="http://schemas.microsoft.com/office/drawing/2014/main" val="11853179"/>
                    </a:ext>
                  </a:extLst>
                </a:gridCol>
                <a:gridCol w="8940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45322">
                  <a:extLst>
                    <a:ext uri="{9D8B030D-6E8A-4147-A177-3AD203B41FA5}">
                      <a16:colId xmlns:a16="http://schemas.microsoft.com/office/drawing/2014/main" val="1489957590"/>
                    </a:ext>
                  </a:extLst>
                </a:gridCol>
                <a:gridCol w="745322">
                  <a:extLst>
                    <a:ext uri="{9D8B030D-6E8A-4147-A177-3AD203B41FA5}">
                      <a16:colId xmlns:a16="http://schemas.microsoft.com/office/drawing/2014/main" val="2258679866"/>
                    </a:ext>
                  </a:extLst>
                </a:gridCol>
                <a:gridCol w="745322">
                  <a:extLst>
                    <a:ext uri="{9D8B030D-6E8A-4147-A177-3AD203B41FA5}">
                      <a16:colId xmlns:a16="http://schemas.microsoft.com/office/drawing/2014/main" val="373314345"/>
                    </a:ext>
                  </a:extLst>
                </a:gridCol>
                <a:gridCol w="931351">
                  <a:extLst>
                    <a:ext uri="{9D8B030D-6E8A-4147-A177-3AD203B41FA5}">
                      <a16:colId xmlns:a16="http://schemas.microsoft.com/office/drawing/2014/main" val="3903630052"/>
                    </a:ext>
                  </a:extLst>
                </a:gridCol>
                <a:gridCol w="931351">
                  <a:extLst>
                    <a:ext uri="{9D8B030D-6E8A-4147-A177-3AD203B41FA5}">
                      <a16:colId xmlns:a16="http://schemas.microsoft.com/office/drawing/2014/main" val="3136328377"/>
                    </a:ext>
                  </a:extLst>
                </a:gridCol>
                <a:gridCol w="931351">
                  <a:extLst>
                    <a:ext uri="{9D8B030D-6E8A-4147-A177-3AD203B41FA5}">
                      <a16:colId xmlns:a16="http://schemas.microsoft.com/office/drawing/2014/main" val="2255220533"/>
                    </a:ext>
                  </a:extLst>
                </a:gridCol>
                <a:gridCol w="13664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4155">
                <a:tc rowSpan="2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列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授权品牌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城市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县级市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)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公司简称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业时间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历年销量情况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0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量情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2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3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-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申请月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量情况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41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0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1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2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当地市占率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所在城市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该品牌数量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同城排名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0804088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1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2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3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4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5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6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…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2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6592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BD0B8F8-5AD8-A220-D7A9-AC53919B4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 </a:t>
            </a:r>
            <a:r>
              <a:rPr lang="zh-CN" altLang="en-US" dirty="0"/>
              <a:t>品牌认知</a:t>
            </a:r>
          </a:p>
        </p:txBody>
      </p: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F15EAEC0-D49B-28F0-13E0-3FCF90B347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66909"/>
              </p:ext>
            </p:extLst>
          </p:nvPr>
        </p:nvGraphicFramePr>
        <p:xfrm>
          <a:off x="843360" y="4338043"/>
          <a:ext cx="10515600" cy="1909843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9843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72000" marR="72000" marT="36030" marB="36030" anchor="ctr" horzOverflow="overflow">
                    <a:lnL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文本框 8">
            <a:extLst>
              <a:ext uri="{FF2B5EF4-FFF2-40B4-BE49-F238E27FC236}">
                <a16:creationId xmlns:a16="http://schemas.microsoft.com/office/drawing/2014/main" id="{ED96BD9F-CFD1-358A-9E9B-9340127BA0FD}"/>
              </a:ext>
            </a:extLst>
          </p:cNvPr>
          <p:cNvSpPr txBox="1"/>
          <p:nvPr/>
        </p:nvSpPr>
        <p:spPr>
          <a:xfrm>
            <a:off x="843360" y="1429972"/>
            <a:ext cx="9665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/>
                <a:ea typeface="微软雅黑"/>
              </a:rPr>
              <a:t>价值观：诚信、责任、合作、创新、进取、梦想</a:t>
            </a:r>
          </a:p>
        </p:txBody>
      </p:sp>
      <p:sp>
        <p:nvSpPr>
          <p:cNvPr id="10" name="文本占位符 1">
            <a:extLst>
              <a:ext uri="{FF2B5EF4-FFF2-40B4-BE49-F238E27FC236}">
                <a16:creationId xmlns:a16="http://schemas.microsoft.com/office/drawing/2014/main" id="{06EEA075-88D7-5ADC-42D3-9538520BABD7}"/>
              </a:ext>
            </a:extLst>
          </p:cNvPr>
          <p:cNvSpPr txBox="1">
            <a:spLocks/>
          </p:cNvSpPr>
          <p:nvPr/>
        </p:nvSpPr>
        <p:spPr>
          <a:xfrm>
            <a:off x="843360" y="3817203"/>
            <a:ext cx="5350902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5.2 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对</a:t>
            </a: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MG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品牌核心产品的认知</a:t>
            </a:r>
          </a:p>
        </p:txBody>
      </p:sp>
      <p:sp>
        <p:nvSpPr>
          <p:cNvPr id="11" name="文本占位符 1">
            <a:extLst>
              <a:ext uri="{FF2B5EF4-FFF2-40B4-BE49-F238E27FC236}">
                <a16:creationId xmlns:a16="http://schemas.microsoft.com/office/drawing/2014/main" id="{5680308C-3FAC-793D-B060-DBB7DAFB65E7}"/>
              </a:ext>
            </a:extLst>
          </p:cNvPr>
          <p:cNvSpPr txBox="1">
            <a:spLocks/>
          </p:cNvSpPr>
          <p:nvPr/>
        </p:nvSpPr>
        <p:spPr>
          <a:xfrm>
            <a:off x="843360" y="995241"/>
            <a:ext cx="5201840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5.1 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对</a:t>
            </a: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MG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品牌价值观的认识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1FB5AE45-CC34-5D6E-CA54-66086C6351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6811781"/>
              </p:ext>
            </p:extLst>
          </p:nvPr>
        </p:nvGraphicFramePr>
        <p:xfrm>
          <a:off x="843360" y="1798357"/>
          <a:ext cx="10515600" cy="1909843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9843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kumimoji="0" lang="zh-CN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72000" marR="72000" marT="36030" marB="36030" anchor="ctr" horzOverflow="overflow">
                    <a:lnL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4431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41B44B6-265F-F363-214E-12BF43CF3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6. </a:t>
            </a:r>
            <a:r>
              <a:rPr lang="zh-CN" altLang="en-US" dirty="0"/>
              <a:t>总经理概况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57B80AFD-C0FA-4E7B-0F3B-CBC0A8BFA8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5683502"/>
              </p:ext>
            </p:extLst>
          </p:nvPr>
        </p:nvGraphicFramePr>
        <p:xfrm>
          <a:off x="750303" y="1528571"/>
          <a:ext cx="10691393" cy="4647128"/>
        </p:xfrm>
        <a:graphic>
          <a:graphicData uri="http://schemas.openxmlformats.org/drawingml/2006/table">
            <a:tbl>
              <a:tblPr firstRow="1" firstCol="1" bandRow="1"/>
              <a:tblGrid>
                <a:gridCol w="1579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044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8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037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25773">
                  <a:extLst>
                    <a:ext uri="{9D8B030D-6E8A-4147-A177-3AD203B41FA5}">
                      <a16:colId xmlns:a16="http://schemas.microsoft.com/office/drawing/2014/main" val="3546462514"/>
                    </a:ext>
                  </a:extLst>
                </a:gridCol>
              </a:tblGrid>
              <a:tr h="61200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r">
                        <a:spcAft>
                          <a:spcPts val="0"/>
                        </a:spcAft>
                        <a:tabLst>
                          <a:tab pos="737870" algn="l"/>
                          <a:tab pos="1493520" algn="l"/>
                          <a:tab pos="1831340" algn="l"/>
                          <a:tab pos="2311400" algn="l"/>
                          <a:tab pos="3031490" algn="l"/>
                          <a:tab pos="3608705" algn="l"/>
                          <a:tab pos="3724275" algn="l"/>
                          <a:tab pos="3884295" algn="l"/>
                          <a:tab pos="5128895" algn="l"/>
                          <a:tab pos="5244465" algn="l"/>
                        </a:tabLs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姓名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b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籍贯</a:t>
                      </a:r>
                      <a:endParaRPr 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近期工作半身照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200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出生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月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6220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indent="0" algn="ctr" defTabSz="6095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常驻</a:t>
                      </a:r>
                      <a:r>
                        <a:rPr lang="zh-CN" alt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200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系方式</a:t>
                      </a: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人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mail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4968">
                <a:tc gridSpan="5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人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履历（投资管理经历）</a:t>
                      </a:r>
                      <a:endParaRPr lang="zh-CN" sz="14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起止年月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单位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承担职务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6862168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3786593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2150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Jmz9S4nEeLvwJAt7kR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HOJugLvUu7cxDTngZ3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O1dixxF0.VjalVXqaW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udulqockaKqbCXybw0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ObBTN4EqzybMu2hrX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HOJugLvUu7cxDTngZ3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Z4Wr71Ckm6UvbyHZZL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SnB9aGBEGwrZui2hgt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udulqockaKqbCXybw0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Z4Wr71Ckm6UvbyHZZL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SnB9aGBEGwrZui2hgt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udulqockaKqbCXybw0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ObBTN4EqzybMu2hrX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qjqOr3K0itH0Ne_Jgt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N.5j0Rt0Ov4fIyPl8Sz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iCJIJoRUee5D9Wa3qd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B9Ykjo8UeC0DKRCbi4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ObBTN4EqzybMu2hrX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B9Ykjo8UeC0DKRCbi4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HOJugLvUu7cxDTngZ3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Z4Wr71Ckm6UvbyHZZL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SnB9aGBEGwrZui2hgt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udulqockaKqbCXybw0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ObBTN4EqzybMu2hrXi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qjqOr3K0itH0Ne_Jgt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N.5j0Rt0Ov4fIyPl8S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xNg8.y1kWsQhzfb0usI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iCJIJoRUee5D9Wa3qdb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B9Ykjo8UeC0DKRCbi4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B9Ykjo8UeC0DKRCbi4W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HOJugLvUu7cxDTngZ3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ICPnMNTE6QC59CgzWJ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djGR3w6EOU0raLfhyB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Sz3Av2Eiems5cSZo0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Ut1GJJm0Oe55TY8ole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8cxfIfUk2mnCEx5Guw0Q"/>
</p:tagLst>
</file>

<file path=ppt/theme/theme1.xml><?xml version="1.0" encoding="utf-8"?>
<a:theme xmlns:a="http://schemas.openxmlformats.org/drawingml/2006/main" name="33_商用车事业部模板">
  <a:themeElements>
    <a:clrScheme name="自定义 4">
      <a:dk1>
        <a:sysClr val="windowText" lastClr="000000"/>
      </a:dk1>
      <a:lt1>
        <a:sysClr val="window" lastClr="FFFFFF"/>
      </a:lt1>
      <a:dk2>
        <a:srgbClr val="1F497D"/>
      </a:dk2>
      <a:lt2>
        <a:srgbClr val="808080"/>
      </a:lt2>
      <a:accent1>
        <a:srgbClr val="2E75B6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3">
      <a:majorFont>
        <a:latin typeface="Arial"/>
        <a:ea typeface="华文细黑"/>
        <a:cs typeface=""/>
      </a:majorFont>
      <a:minorFont>
        <a:latin typeface="Arial"/>
        <a:ea typeface="华文细黑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95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上汽集团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MPV">
  <a:themeElements>
    <a:clrScheme name="SAIC Color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65FE"/>
      </a:accent1>
      <a:accent2>
        <a:srgbClr val="79A9FE"/>
      </a:accent2>
      <a:accent3>
        <a:srgbClr val="001D7E"/>
      </a:accent3>
      <a:accent4>
        <a:srgbClr val="FF6D01"/>
      </a:accent4>
      <a:accent5>
        <a:srgbClr val="57575A"/>
      </a:accent5>
      <a:accent6>
        <a:srgbClr val="00C7B2"/>
      </a:accent6>
      <a:hlink>
        <a:srgbClr val="0065FE"/>
      </a:hlink>
      <a:folHlink>
        <a:srgbClr val="FF6D01"/>
      </a:folHlink>
    </a:clrScheme>
    <a:fontScheme name="自定义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MPV" id="{06259E08-BA8C-4016-B81A-5C5258F0A5BD}" vid="{248D5E7A-AF00-43F3-9B03-E67B4C835B42}"/>
    </a:ext>
  </a:extLst>
</a:theme>
</file>

<file path=ppt/theme/theme4.xml><?xml version="1.0" encoding="utf-8"?>
<a:theme xmlns:a="http://schemas.openxmlformats.org/drawingml/2006/main" name="96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上汽集团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SMPV">
  <a:themeElements>
    <a:clrScheme name="SAIC Color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65FE"/>
      </a:accent1>
      <a:accent2>
        <a:srgbClr val="79A9FE"/>
      </a:accent2>
      <a:accent3>
        <a:srgbClr val="001D7E"/>
      </a:accent3>
      <a:accent4>
        <a:srgbClr val="FF6D01"/>
      </a:accent4>
      <a:accent5>
        <a:srgbClr val="57575A"/>
      </a:accent5>
      <a:accent6>
        <a:srgbClr val="00C7B2"/>
      </a:accent6>
      <a:hlink>
        <a:srgbClr val="0065FE"/>
      </a:hlink>
      <a:folHlink>
        <a:srgbClr val="FF6D01"/>
      </a:folHlink>
    </a:clrScheme>
    <a:fontScheme name="自定义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MPV" id="{06259E08-BA8C-4016-B81A-5C5258F0A5BD}" vid="{248D5E7A-AF00-43F3-9B03-E67B4C835B42}"/>
    </a:ext>
  </a:extLst>
</a:theme>
</file>

<file path=ppt/theme/theme6.xml><?xml version="1.0" encoding="utf-8"?>
<a:theme xmlns:a="http://schemas.openxmlformats.org/drawingml/2006/main" name="2_SMPV">
  <a:themeElements>
    <a:clrScheme name="SAIC Color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65FE"/>
      </a:accent1>
      <a:accent2>
        <a:srgbClr val="79A9FE"/>
      </a:accent2>
      <a:accent3>
        <a:srgbClr val="001D7E"/>
      </a:accent3>
      <a:accent4>
        <a:srgbClr val="FF6D01"/>
      </a:accent4>
      <a:accent5>
        <a:srgbClr val="57575A"/>
      </a:accent5>
      <a:accent6>
        <a:srgbClr val="00C7B2"/>
      </a:accent6>
      <a:hlink>
        <a:srgbClr val="0065FE"/>
      </a:hlink>
      <a:folHlink>
        <a:srgbClr val="FF6D01"/>
      </a:folHlink>
    </a:clrScheme>
    <a:fontScheme name="自定义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MPV" id="{06259E08-BA8C-4016-B81A-5C5258F0A5BD}" vid="{248D5E7A-AF00-43F3-9B03-E67B4C835B42}"/>
    </a:ext>
  </a:extLst>
</a:theme>
</file>

<file path=ppt/theme/theme7.xml><?xml version="1.0" encoding="utf-8"?>
<a:theme xmlns:a="http://schemas.openxmlformats.org/drawingml/2006/main" name="97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上汽集团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85</TotalTime>
  <Words>1194</Words>
  <Application>Microsoft Office PowerPoint</Application>
  <PresentationFormat>宽屏</PresentationFormat>
  <Paragraphs>290</Paragraphs>
  <Slides>24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7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48" baseType="lpstr">
      <vt:lpstr>HYQIHEI-55S BOOK</vt:lpstr>
      <vt:lpstr>Source Han Sans CN Normal</vt:lpstr>
      <vt:lpstr>等线</vt:lpstr>
      <vt:lpstr>黑体</vt:lpstr>
      <vt:lpstr>华文细黑</vt:lpstr>
      <vt:lpstr>宋体</vt:lpstr>
      <vt:lpstr>Microsoft YaHei</vt:lpstr>
      <vt:lpstr>Microsoft YaHei</vt:lpstr>
      <vt:lpstr>Arial</vt:lpstr>
      <vt:lpstr>Arial Black</vt:lpstr>
      <vt:lpstr>Calibri</vt:lpstr>
      <vt:lpstr>Franklin Gothic Book</vt:lpstr>
      <vt:lpstr>Impact</vt:lpstr>
      <vt:lpstr>Times New Roman</vt:lpstr>
      <vt:lpstr>Wingdings</vt:lpstr>
      <vt:lpstr>Wingdings 2</vt:lpstr>
      <vt:lpstr>33_商用车事业部模板</vt:lpstr>
      <vt:lpstr>95_自定义设计方案</vt:lpstr>
      <vt:lpstr>SMPV</vt:lpstr>
      <vt:lpstr>96_自定义设计方案</vt:lpstr>
      <vt:lpstr>1_SMPV</vt:lpstr>
      <vt:lpstr>2_SMPV</vt:lpstr>
      <vt:lpstr>97_自定义设计方案</vt:lpstr>
      <vt:lpstr>think-cell Slide</vt:lpstr>
      <vt:lpstr>PowerPoint 演示文稿</vt:lpstr>
      <vt:lpstr>PowerPoint 演示文稿</vt:lpstr>
      <vt:lpstr>1. 申请公司情况介绍</vt:lpstr>
      <vt:lpstr>2. 拟建新公司情况介绍</vt:lpstr>
      <vt:lpstr>3. 投资方概况</vt:lpstr>
      <vt:lpstr>3. 投资方概况</vt:lpstr>
      <vt:lpstr>4. 汽车行业经验</vt:lpstr>
      <vt:lpstr>5. 品牌认知</vt:lpstr>
      <vt:lpstr>6. 总经理概况</vt:lpstr>
      <vt:lpstr>1. 所属城市情况分析</vt:lpstr>
      <vt:lpstr>2. XX市总体汽车市场分布</vt:lpstr>
      <vt:lpstr>3. 申请场地所在位置－XX汽车城</vt:lpstr>
      <vt:lpstr>4. 拟建新公司情况介绍</vt:lpstr>
      <vt:lpstr>5. 申请场地介绍－全景图</vt:lpstr>
      <vt:lpstr>6. 申请场地介绍－正面全照</vt:lpstr>
      <vt:lpstr>7. 申请场地介绍－展厅情况</vt:lpstr>
      <vt:lpstr>8. 申请场地介绍－售后情况</vt:lpstr>
      <vt:lpstr>9. 申请场地介绍－周边情况</vt:lpstr>
      <vt:lpstr>10. 场地平面图</vt:lpstr>
      <vt:lpstr>PowerPoint 演示文稿</vt:lpstr>
      <vt:lpstr>PowerPoint 演示文稿</vt:lpstr>
      <vt:lpstr>PowerPoint 演示文稿</vt:lpstr>
      <vt:lpstr>PowerPoint 演示文稿</vt:lpstr>
      <vt:lpstr>3. 申请公司营业执照、股权结构（请提供营业执照）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项目总览</dc:title>
  <dc:creator>ThinkPad</dc:creator>
  <cp:lastModifiedBy>Yang HongCheng 杨红成</cp:lastModifiedBy>
  <cp:revision>846</cp:revision>
  <dcterms:created xsi:type="dcterms:W3CDTF">2018-12-11T13:02:05Z</dcterms:created>
  <dcterms:modified xsi:type="dcterms:W3CDTF">2023-05-25T23:55:12Z</dcterms:modified>
</cp:coreProperties>
</file>